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tags/tag2161.xml" ContentType="application/vnd.openxmlformats-officedocument.presentationml.tags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tags/tag2164.xml" ContentType="application/vnd.openxmlformats-officedocument.presentationml.tags+xml"/>
  <Override PartName="/ppt/tags/tag2165.xml" ContentType="application/vnd.openxmlformats-officedocument.presentationml.tags+xml"/>
  <Override PartName="/ppt/tags/tag2166.xml" ContentType="application/vnd.openxmlformats-officedocument.presentationml.tags+xml"/>
  <Override PartName="/ppt/tags/tag2167.xml" ContentType="application/vnd.openxmlformats-officedocument.presentationml.tags+xml"/>
  <Override PartName="/ppt/tags/tag2168.xml" ContentType="application/vnd.openxmlformats-officedocument.presentationml.tags+xml"/>
  <Override PartName="/ppt/tags/tag2169.xml" ContentType="application/vnd.openxmlformats-officedocument.presentationml.tags+xml"/>
  <Override PartName="/ppt/tags/tag2170.xml" ContentType="application/vnd.openxmlformats-officedocument.presentationml.tags+xml"/>
  <Override PartName="/ppt/tags/tag2171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175.xml" ContentType="application/vnd.openxmlformats-officedocument.presentationml.tags+xml"/>
  <Override PartName="/ppt/tags/tag2176.xml" ContentType="application/vnd.openxmlformats-officedocument.presentationml.tags+xml"/>
  <Override PartName="/ppt/tags/tag2177.xml" ContentType="application/vnd.openxmlformats-officedocument.presentationml.tags+xml"/>
  <Override PartName="/ppt/tags/tag2178.xml" ContentType="application/vnd.openxmlformats-officedocument.presentationml.tags+xml"/>
  <Override PartName="/ppt/tags/tag2179.xml" ContentType="application/vnd.openxmlformats-officedocument.presentationml.tags+xml"/>
  <Override PartName="/ppt/tags/tag2180.xml" ContentType="application/vnd.openxmlformats-officedocument.presentationml.tags+xml"/>
  <Override PartName="/ppt/tags/tag2181.xml" ContentType="application/vnd.openxmlformats-officedocument.presentationml.tags+xml"/>
  <Override PartName="/ppt/tags/tag2182.xml" ContentType="application/vnd.openxmlformats-officedocument.presentationml.tags+xml"/>
  <Override PartName="/ppt/tags/tag2183.xml" ContentType="application/vnd.openxmlformats-officedocument.presentationml.tags+xml"/>
  <Override PartName="/ppt/tags/tag2184.xml" ContentType="application/vnd.openxmlformats-officedocument.presentationml.tags+xml"/>
  <Override PartName="/ppt/tags/tag2185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89.xml" ContentType="application/vnd.openxmlformats-officedocument.presentationml.tags+xml"/>
  <Override PartName="/ppt/tags/tag2190.xml" ContentType="application/vnd.openxmlformats-officedocument.presentationml.tags+xml"/>
  <Override PartName="/ppt/tags/tag2191.xml" ContentType="application/vnd.openxmlformats-officedocument.presentationml.tags+xml"/>
  <Override PartName="/ppt/tags/tag2192.xml" ContentType="application/vnd.openxmlformats-officedocument.presentationml.tags+xml"/>
  <Override PartName="/ppt/tags/tag2193.xml" ContentType="application/vnd.openxmlformats-officedocument.presentationml.tags+xml"/>
  <Override PartName="/ppt/tags/tag2194.xml" ContentType="application/vnd.openxmlformats-officedocument.presentationml.tags+xml"/>
  <Override PartName="/ppt/tags/tag2195.xml" ContentType="application/vnd.openxmlformats-officedocument.presentationml.tags+xml"/>
  <Override PartName="/ppt/tags/tag2196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203.xml" ContentType="application/vnd.openxmlformats-officedocument.presentationml.tags+xml"/>
  <Override PartName="/ppt/tags/tag2204.xml" ContentType="application/vnd.openxmlformats-officedocument.presentationml.tags+xml"/>
  <Override PartName="/ppt/tags/tag2205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211.xml" ContentType="application/vnd.openxmlformats-officedocument.presentationml.tags+xml"/>
  <Override PartName="/ppt/tags/tag2212.xml" ContentType="application/vnd.openxmlformats-officedocument.presentationml.tags+xml"/>
  <Override PartName="/ppt/tags/tag2213.xml" ContentType="application/vnd.openxmlformats-officedocument.presentationml.tags+xml"/>
  <Override PartName="/ppt/tags/tag2214.xml" ContentType="application/vnd.openxmlformats-officedocument.presentationml.tags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221.xml" ContentType="application/vnd.openxmlformats-officedocument.presentationml.tags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225.xml" ContentType="application/vnd.openxmlformats-officedocument.presentationml.tags+xml"/>
  <Override PartName="/ppt/tags/tag2226.xml" ContentType="application/vnd.openxmlformats-officedocument.presentationml.tags+xml"/>
  <Override PartName="/ppt/tags/tag2227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230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245.xml" ContentType="application/vnd.openxmlformats-officedocument.presentationml.tags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tags/tag2249.xml" ContentType="application/vnd.openxmlformats-officedocument.presentationml.tags+xml"/>
  <Override PartName="/ppt/tags/tag2250.xml" ContentType="application/vnd.openxmlformats-officedocument.presentationml.tags+xml"/>
  <Override PartName="/ppt/tags/tag2251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4.xml" ContentType="application/vnd.openxmlformats-officedocument.presentationml.tags+xml"/>
  <Override PartName="/ppt/tags/tag2255.xml" ContentType="application/vnd.openxmlformats-officedocument.presentationml.tags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261.xml" ContentType="application/vnd.openxmlformats-officedocument.presentationml.tags+xml"/>
  <Override PartName="/ppt/tags/tag2262.xml" ContentType="application/vnd.openxmlformats-officedocument.presentationml.tags+xml"/>
  <Override PartName="/ppt/tags/tag2263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2266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2271.xml" ContentType="application/vnd.openxmlformats-officedocument.presentationml.tags+xml"/>
  <Override PartName="/ppt/tags/tag2272.xml" ContentType="application/vnd.openxmlformats-officedocument.presentationml.tags+xml"/>
  <Override PartName="/ppt/tags/tag2273.xml" ContentType="application/vnd.openxmlformats-officedocument.presentationml.tags+xml"/>
  <Override PartName="/ppt/tags/tag2274.xml" ContentType="application/vnd.openxmlformats-officedocument.presentationml.tags+xml"/>
  <Override PartName="/ppt/tags/tag2275.xml" ContentType="application/vnd.openxmlformats-officedocument.presentationml.tags+xml"/>
  <Override PartName="/ppt/tags/tag2276.xml" ContentType="application/vnd.openxmlformats-officedocument.presentationml.tags+xml"/>
  <Override PartName="/ppt/tags/tag2277.xml" ContentType="application/vnd.openxmlformats-officedocument.presentationml.tags+xml"/>
  <Override PartName="/ppt/tags/tag2278.xml" ContentType="application/vnd.openxmlformats-officedocument.presentationml.tags+xml"/>
  <Override PartName="/ppt/tags/tag2279.xml" ContentType="application/vnd.openxmlformats-officedocument.presentationml.tags+xml"/>
  <Override PartName="/ppt/tags/tag2280.xml" ContentType="application/vnd.openxmlformats-officedocument.presentationml.tags+xml"/>
  <Override PartName="/ppt/tags/tag2281.xml" ContentType="application/vnd.openxmlformats-officedocument.presentationml.tags+xml"/>
  <Override PartName="/ppt/tags/tag2282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tags/tag2286.xml" ContentType="application/vnd.openxmlformats-officedocument.presentationml.tags+xml"/>
  <Override PartName="/ppt/tags/tag2287.xml" ContentType="application/vnd.openxmlformats-officedocument.presentationml.tags+xml"/>
  <Override PartName="/ppt/tags/tag2288.xml" ContentType="application/vnd.openxmlformats-officedocument.presentationml.tags+xml"/>
  <Override PartName="/ppt/tags/tag2289.xml" ContentType="application/vnd.openxmlformats-officedocument.presentationml.tags+xml"/>
  <Override PartName="/ppt/tags/tag2290.xml" ContentType="application/vnd.openxmlformats-officedocument.presentationml.tags+xml"/>
  <Override PartName="/ppt/tags/tag2291.xml" ContentType="application/vnd.openxmlformats-officedocument.presentationml.tags+xml"/>
  <Override PartName="/ppt/tags/tag2292.xml" ContentType="application/vnd.openxmlformats-officedocument.presentationml.tags+xml"/>
  <Override PartName="/ppt/tags/tag2293.xml" ContentType="application/vnd.openxmlformats-officedocument.presentationml.tags+xml"/>
  <Override PartName="/ppt/tags/tag2294.xml" ContentType="application/vnd.openxmlformats-officedocument.presentationml.tags+xml"/>
  <Override PartName="/ppt/tags/tag2295.xml" ContentType="application/vnd.openxmlformats-officedocument.presentationml.tags+xml"/>
  <Override PartName="/ppt/tags/tag2296.xml" ContentType="application/vnd.openxmlformats-officedocument.presentationml.tags+xml"/>
  <Override PartName="/ppt/tags/tag2297.xml" ContentType="application/vnd.openxmlformats-officedocument.presentationml.tags+xml"/>
  <Override PartName="/ppt/tags/tag2298.xml" ContentType="application/vnd.openxmlformats-officedocument.presentationml.tags+xml"/>
  <Override PartName="/ppt/tags/tag2299.xml" ContentType="application/vnd.openxmlformats-officedocument.presentationml.tags+xml"/>
  <Override PartName="/ppt/tags/tag2300.xml" ContentType="application/vnd.openxmlformats-officedocument.presentationml.tags+xml"/>
  <Override PartName="/ppt/tags/tag2301.xml" ContentType="application/vnd.openxmlformats-officedocument.presentationml.tags+xml"/>
  <Override PartName="/ppt/tags/tag2302.xml" ContentType="application/vnd.openxmlformats-officedocument.presentationml.tags+xml"/>
  <Override PartName="/ppt/tags/tag2303.xml" ContentType="application/vnd.openxmlformats-officedocument.presentationml.tags+xml"/>
  <Override PartName="/ppt/tags/tag2304.xml" ContentType="application/vnd.openxmlformats-officedocument.presentationml.tags+xml"/>
  <Override PartName="/ppt/tags/tag2305.xml" ContentType="application/vnd.openxmlformats-officedocument.presentationml.tags+xml"/>
  <Override PartName="/ppt/tags/tag2306.xml" ContentType="application/vnd.openxmlformats-officedocument.presentationml.tags+xml"/>
  <Override PartName="/ppt/tags/tag2307.xml" ContentType="application/vnd.openxmlformats-officedocument.presentationml.tags+xml"/>
  <Override PartName="/ppt/tags/tag2308.xml" ContentType="application/vnd.openxmlformats-officedocument.presentationml.tags+xml"/>
  <Override PartName="/ppt/tags/tag2309.xml" ContentType="application/vnd.openxmlformats-officedocument.presentationml.tags+xml"/>
  <Override PartName="/ppt/tags/tag2310.xml" ContentType="application/vnd.openxmlformats-officedocument.presentationml.tags+xml"/>
  <Override PartName="/ppt/tags/tag2311.xml" ContentType="application/vnd.openxmlformats-officedocument.presentationml.tags+xml"/>
  <Override PartName="/ppt/tags/tag2312.xml" ContentType="application/vnd.openxmlformats-officedocument.presentationml.tags+xml"/>
  <Override PartName="/ppt/tags/tag2313.xml" ContentType="application/vnd.openxmlformats-officedocument.presentationml.tags+xml"/>
  <Override PartName="/ppt/tags/tag2314.xml" ContentType="application/vnd.openxmlformats-officedocument.presentationml.tags+xml"/>
  <Override PartName="/ppt/tags/tag2315.xml" ContentType="application/vnd.openxmlformats-officedocument.presentationml.tags+xml"/>
  <Override PartName="/ppt/tags/tag2316.xml" ContentType="application/vnd.openxmlformats-officedocument.presentationml.tags+xml"/>
  <Override PartName="/ppt/tags/tag2317.xml" ContentType="application/vnd.openxmlformats-officedocument.presentationml.tags+xml"/>
  <Override PartName="/ppt/tags/tag2318.xml" ContentType="application/vnd.openxmlformats-officedocument.presentationml.tags+xml"/>
  <Override PartName="/ppt/tags/tag2319.xml" ContentType="application/vnd.openxmlformats-officedocument.presentationml.tags+xml"/>
  <Override PartName="/ppt/tags/tag2320.xml" ContentType="application/vnd.openxmlformats-officedocument.presentationml.tags+xml"/>
  <Override PartName="/ppt/tags/tag2321.xml" ContentType="application/vnd.openxmlformats-officedocument.presentationml.tags+xml"/>
  <Override PartName="/ppt/tags/tag2322.xml" ContentType="application/vnd.openxmlformats-officedocument.presentationml.tags+xml"/>
  <Override PartName="/ppt/tags/tag2323.xml" ContentType="application/vnd.openxmlformats-officedocument.presentationml.tags+xml"/>
  <Override PartName="/ppt/tags/tag2324.xml" ContentType="application/vnd.openxmlformats-officedocument.presentationml.tags+xml"/>
  <Override PartName="/ppt/tags/tag2325.xml" ContentType="application/vnd.openxmlformats-officedocument.presentationml.tags+xml"/>
  <Override PartName="/ppt/tags/tag2326.xml" ContentType="application/vnd.openxmlformats-officedocument.presentationml.tags+xml"/>
  <Override PartName="/ppt/tags/tag2327.xml" ContentType="application/vnd.openxmlformats-officedocument.presentationml.tags+xml"/>
  <Override PartName="/ppt/tags/tag2328.xml" ContentType="application/vnd.openxmlformats-officedocument.presentationml.tags+xml"/>
  <Override PartName="/ppt/tags/tag2329.xml" ContentType="application/vnd.openxmlformats-officedocument.presentationml.tags+xml"/>
  <Override PartName="/ppt/tags/tag2330.xml" ContentType="application/vnd.openxmlformats-officedocument.presentationml.tags+xml"/>
  <Override PartName="/ppt/tags/tag2331.xml" ContentType="application/vnd.openxmlformats-officedocument.presentationml.tags+xml"/>
  <Override PartName="/ppt/tags/tag2332.xml" ContentType="application/vnd.openxmlformats-officedocument.presentationml.tags+xml"/>
  <Override PartName="/ppt/tags/tag2333.xml" ContentType="application/vnd.openxmlformats-officedocument.presentationml.tags+xml"/>
  <Override PartName="/ppt/tags/tag2334.xml" ContentType="application/vnd.openxmlformats-officedocument.presentationml.tags+xml"/>
  <Override PartName="/ppt/tags/tag2335.xml" ContentType="application/vnd.openxmlformats-officedocument.presentationml.tags+xml"/>
  <Override PartName="/ppt/tags/tag2336.xml" ContentType="application/vnd.openxmlformats-officedocument.presentationml.tags+xml"/>
  <Override PartName="/ppt/tags/tag2337.xml" ContentType="application/vnd.openxmlformats-officedocument.presentationml.tags+xml"/>
  <Override PartName="/ppt/tags/tag2338.xml" ContentType="application/vnd.openxmlformats-officedocument.presentationml.tags+xml"/>
  <Override PartName="/ppt/tags/tag2339.xml" ContentType="application/vnd.openxmlformats-officedocument.presentationml.tags+xml"/>
  <Override PartName="/ppt/tags/tag2340.xml" ContentType="application/vnd.openxmlformats-officedocument.presentationml.tags+xml"/>
  <Override PartName="/ppt/tags/tag2341.xml" ContentType="application/vnd.openxmlformats-officedocument.presentationml.tags+xml"/>
  <Override PartName="/ppt/tags/tag2342.xml" ContentType="application/vnd.openxmlformats-officedocument.presentationml.tags+xml"/>
  <Override PartName="/ppt/tags/tag2343.xml" ContentType="application/vnd.openxmlformats-officedocument.presentationml.tags+xml"/>
  <Override PartName="/ppt/tags/tag2344.xml" ContentType="application/vnd.openxmlformats-officedocument.presentationml.tags+xml"/>
  <Override PartName="/ppt/tags/tag2345.xml" ContentType="application/vnd.openxmlformats-officedocument.presentationml.tags+xml"/>
  <Override PartName="/ppt/tags/tag2346.xml" ContentType="application/vnd.openxmlformats-officedocument.presentationml.tags+xml"/>
  <Override PartName="/ppt/tags/tag2347.xml" ContentType="application/vnd.openxmlformats-officedocument.presentationml.tags+xml"/>
  <Override PartName="/ppt/tags/tag2348.xml" ContentType="application/vnd.openxmlformats-officedocument.presentationml.tags+xml"/>
  <Override PartName="/ppt/tags/tag2349.xml" ContentType="application/vnd.openxmlformats-officedocument.presentationml.tags+xml"/>
  <Override PartName="/ppt/tags/tag2350.xml" ContentType="application/vnd.openxmlformats-officedocument.presentationml.tags+xml"/>
  <Override PartName="/ppt/tags/tag2351.xml" ContentType="application/vnd.openxmlformats-officedocument.presentationml.tags+xml"/>
  <Override PartName="/ppt/tags/tag2352.xml" ContentType="application/vnd.openxmlformats-officedocument.presentationml.tags+xml"/>
  <Override PartName="/ppt/tags/tag2353.xml" ContentType="application/vnd.openxmlformats-officedocument.presentationml.tags+xml"/>
  <Override PartName="/ppt/tags/tag2354.xml" ContentType="application/vnd.openxmlformats-officedocument.presentationml.tags+xml"/>
  <Override PartName="/ppt/tags/tag23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14998699" r:id="rId2"/>
    <p:sldId id="257" r:id="rId3"/>
    <p:sldId id="14998703" r:id="rId4"/>
    <p:sldId id="14998819" r:id="rId5"/>
    <p:sldId id="14998704" r:id="rId6"/>
    <p:sldId id="14998820" r:id="rId7"/>
    <p:sldId id="14998821" r:id="rId8"/>
    <p:sldId id="14998822" r:id="rId9"/>
    <p:sldId id="14998705" r:id="rId10"/>
    <p:sldId id="14998832" r:id="rId11"/>
    <p:sldId id="14998716" r:id="rId12"/>
    <p:sldId id="14998824" r:id="rId13"/>
    <p:sldId id="14998717" r:id="rId14"/>
    <p:sldId id="14998826" r:id="rId15"/>
    <p:sldId id="14998718" r:id="rId16"/>
    <p:sldId id="14998827" r:id="rId17"/>
    <p:sldId id="14998719" r:id="rId18"/>
    <p:sldId id="14998828" r:id="rId19"/>
    <p:sldId id="14998720" r:id="rId20"/>
    <p:sldId id="14998829" r:id="rId21"/>
    <p:sldId id="14998721" r:id="rId22"/>
    <p:sldId id="14998830" r:id="rId23"/>
    <p:sldId id="14998722" r:id="rId24"/>
    <p:sldId id="14998831" r:id="rId25"/>
    <p:sldId id="14998706" r:id="rId26"/>
    <p:sldId id="14998833" r:id="rId27"/>
    <p:sldId id="14998727" r:id="rId28"/>
    <p:sldId id="14998834" r:id="rId29"/>
    <p:sldId id="14998728" r:id="rId30"/>
    <p:sldId id="14998835" r:id="rId31"/>
    <p:sldId id="14998847" r:id="rId32"/>
    <p:sldId id="14998838" r:id="rId33"/>
    <p:sldId id="14998839" r:id="rId34"/>
    <p:sldId id="14998840" r:id="rId35"/>
    <p:sldId id="14998841" r:id="rId36"/>
    <p:sldId id="14998842" r:id="rId37"/>
    <p:sldId id="14998843" r:id="rId38"/>
    <p:sldId id="14998844" r:id="rId39"/>
    <p:sldId id="14998845" r:id="rId40"/>
    <p:sldId id="14998846" r:id="rId41"/>
    <p:sldId id="14998729" r:id="rId42"/>
    <p:sldId id="14998836" r:id="rId43"/>
    <p:sldId id="14998848" r:id="rId44"/>
    <p:sldId id="14998849" r:id="rId45"/>
    <p:sldId id="14998850" r:id="rId46"/>
    <p:sldId id="14998851" r:id="rId47"/>
    <p:sldId id="14998852" r:id="rId48"/>
    <p:sldId id="14998853" r:id="rId49"/>
    <p:sldId id="14998854" r:id="rId50"/>
    <p:sldId id="14998730" r:id="rId51"/>
    <p:sldId id="14998859" r:id="rId52"/>
    <p:sldId id="14998837" r:id="rId53"/>
    <p:sldId id="14998860" r:id="rId54"/>
    <p:sldId id="14998861" r:id="rId55"/>
    <p:sldId id="14998707" r:id="rId56"/>
    <p:sldId id="14998862" r:id="rId57"/>
    <p:sldId id="14998735" r:id="rId58"/>
    <p:sldId id="14998863" r:id="rId59"/>
    <p:sldId id="14998736" r:id="rId60"/>
    <p:sldId id="14998864" r:id="rId61"/>
    <p:sldId id="14998737" r:id="rId62"/>
    <p:sldId id="14998865" r:id="rId63"/>
    <p:sldId id="14998738" r:id="rId64"/>
    <p:sldId id="14998866" r:id="rId65"/>
    <p:sldId id="14998739" r:id="rId66"/>
    <p:sldId id="14998867" r:id="rId67"/>
    <p:sldId id="14998740" r:id="rId68"/>
    <p:sldId id="14998868" r:id="rId69"/>
    <p:sldId id="14998741" r:id="rId70"/>
    <p:sldId id="14998869" r:id="rId71"/>
    <p:sldId id="14998742" r:id="rId72"/>
    <p:sldId id="14998870" r:id="rId73"/>
    <p:sldId id="14998743" r:id="rId74"/>
    <p:sldId id="14998871" r:id="rId75"/>
    <p:sldId id="14998744" r:id="rId76"/>
    <p:sldId id="14998872" r:id="rId77"/>
    <p:sldId id="14998745" r:id="rId78"/>
    <p:sldId id="14998873" r:id="rId79"/>
    <p:sldId id="14998746" r:id="rId80"/>
    <p:sldId id="14998874" r:id="rId81"/>
    <p:sldId id="14998747" r:id="rId82"/>
    <p:sldId id="14998875" r:id="rId83"/>
    <p:sldId id="14998748" r:id="rId84"/>
    <p:sldId id="14998876" r:id="rId85"/>
    <p:sldId id="14998749" r:id="rId86"/>
    <p:sldId id="14998877" r:id="rId87"/>
    <p:sldId id="14998750" r:id="rId88"/>
    <p:sldId id="14998878" r:id="rId89"/>
    <p:sldId id="14998751" r:id="rId90"/>
    <p:sldId id="14998879" r:id="rId91"/>
    <p:sldId id="14998752" r:id="rId92"/>
    <p:sldId id="14998880" r:id="rId93"/>
    <p:sldId id="14998753" r:id="rId94"/>
    <p:sldId id="14998881" r:id="rId95"/>
    <p:sldId id="14998708" r:id="rId96"/>
    <p:sldId id="14998933" r:id="rId97"/>
    <p:sldId id="14998758" r:id="rId98"/>
    <p:sldId id="14998932" r:id="rId99"/>
    <p:sldId id="14998759" r:id="rId100"/>
    <p:sldId id="14998931" r:id="rId101"/>
    <p:sldId id="14998760" r:id="rId102"/>
    <p:sldId id="14998930" r:id="rId103"/>
    <p:sldId id="14998761" r:id="rId104"/>
    <p:sldId id="14998929" r:id="rId105"/>
    <p:sldId id="14998762" r:id="rId106"/>
    <p:sldId id="14998928" r:id="rId107"/>
    <p:sldId id="14998763" r:id="rId108"/>
    <p:sldId id="14998927" r:id="rId109"/>
    <p:sldId id="14998764" r:id="rId110"/>
    <p:sldId id="14998926" r:id="rId111"/>
    <p:sldId id="14998765" r:id="rId112"/>
    <p:sldId id="14998925" r:id="rId113"/>
    <p:sldId id="14998766" r:id="rId114"/>
    <p:sldId id="14998924" r:id="rId115"/>
    <p:sldId id="14998767" r:id="rId116"/>
    <p:sldId id="14998923" r:id="rId117"/>
    <p:sldId id="14998768" r:id="rId118"/>
    <p:sldId id="14998922" r:id="rId119"/>
    <p:sldId id="14998769" r:id="rId120"/>
    <p:sldId id="14998921" r:id="rId121"/>
    <p:sldId id="14998770" r:id="rId122"/>
    <p:sldId id="14998920" r:id="rId123"/>
    <p:sldId id="14998771" r:id="rId124"/>
    <p:sldId id="14998919" r:id="rId125"/>
    <p:sldId id="14998709" r:id="rId126"/>
    <p:sldId id="14998918" r:id="rId127"/>
    <p:sldId id="14998776" r:id="rId128"/>
    <p:sldId id="14998917" r:id="rId129"/>
    <p:sldId id="14998777" r:id="rId130"/>
    <p:sldId id="14998916" r:id="rId131"/>
    <p:sldId id="14998778" r:id="rId132"/>
    <p:sldId id="14998915" r:id="rId133"/>
    <p:sldId id="14998779" r:id="rId134"/>
    <p:sldId id="14998914" r:id="rId135"/>
    <p:sldId id="14998780" r:id="rId136"/>
    <p:sldId id="14998913" r:id="rId137"/>
    <p:sldId id="14998781" r:id="rId138"/>
    <p:sldId id="14998912" r:id="rId139"/>
    <p:sldId id="14998782" r:id="rId140"/>
    <p:sldId id="14998911" r:id="rId141"/>
    <p:sldId id="14998783" r:id="rId142"/>
    <p:sldId id="14998910" r:id="rId143"/>
    <p:sldId id="14998784" r:id="rId144"/>
    <p:sldId id="14998909" r:id="rId145"/>
    <p:sldId id="14998785" r:id="rId146"/>
    <p:sldId id="14998908" r:id="rId147"/>
    <p:sldId id="14998786" r:id="rId148"/>
    <p:sldId id="14998907" r:id="rId149"/>
    <p:sldId id="14998710" r:id="rId150"/>
    <p:sldId id="14998906" r:id="rId151"/>
    <p:sldId id="14998791" r:id="rId152"/>
    <p:sldId id="14998905" r:id="rId153"/>
    <p:sldId id="14998792" r:id="rId154"/>
    <p:sldId id="14998904" r:id="rId155"/>
    <p:sldId id="14998793" r:id="rId156"/>
    <p:sldId id="14998903" r:id="rId157"/>
    <p:sldId id="14998794" r:id="rId158"/>
    <p:sldId id="14998902" r:id="rId159"/>
    <p:sldId id="14998795" r:id="rId160"/>
    <p:sldId id="14998901" r:id="rId161"/>
    <p:sldId id="14998796" r:id="rId162"/>
    <p:sldId id="14998900" r:id="rId163"/>
    <p:sldId id="14998797" r:id="rId164"/>
    <p:sldId id="14998899" r:id="rId165"/>
    <p:sldId id="14998798" r:id="rId166"/>
    <p:sldId id="14998898" r:id="rId167"/>
    <p:sldId id="14998799" r:id="rId168"/>
    <p:sldId id="14998897" r:id="rId169"/>
    <p:sldId id="14998800" r:id="rId170"/>
    <p:sldId id="14998896" r:id="rId171"/>
    <p:sldId id="14998801" r:id="rId172"/>
    <p:sldId id="14998895" r:id="rId173"/>
    <p:sldId id="14998802" r:id="rId174"/>
    <p:sldId id="14998894" r:id="rId175"/>
    <p:sldId id="14998803" r:id="rId176"/>
    <p:sldId id="14998893" r:id="rId177"/>
    <p:sldId id="14998804" r:id="rId178"/>
    <p:sldId id="14998892" r:id="rId179"/>
    <p:sldId id="14998805" r:id="rId180"/>
    <p:sldId id="14998891" r:id="rId181"/>
    <p:sldId id="14998806" r:id="rId182"/>
    <p:sldId id="14998890" r:id="rId183"/>
    <p:sldId id="14998807" r:id="rId184"/>
    <p:sldId id="14998889" r:id="rId185"/>
    <p:sldId id="14998711" r:id="rId186"/>
    <p:sldId id="14998888" r:id="rId187"/>
    <p:sldId id="14998812" r:id="rId188"/>
    <p:sldId id="14998887" r:id="rId189"/>
    <p:sldId id="14998813" r:id="rId190"/>
    <p:sldId id="14998886" r:id="rId191"/>
    <p:sldId id="14998814" r:id="rId192"/>
    <p:sldId id="14998885" r:id="rId193"/>
    <p:sldId id="14998815" r:id="rId194"/>
    <p:sldId id="14998884" r:id="rId195"/>
    <p:sldId id="14998816" r:id="rId196"/>
    <p:sldId id="14998883" r:id="rId197"/>
    <p:sldId id="14998817" r:id="rId198"/>
    <p:sldId id="14998882" r:id="rId199"/>
    <p:sldId id="14998818" r:id="rId200"/>
    <p:sldId id="14998825" r:id="rId201"/>
  </p:sldIdLst>
  <p:sldSz cx="12192000" cy="6858000"/>
  <p:notesSz cx="6858000" cy="9144000"/>
  <p:custDataLst>
    <p:tags r:id="rId20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" id="{38F32E53-3FCE-49F2-A783-501C98E8FC15}">
          <p14:sldIdLst>
            <p14:sldId id="14998699"/>
            <p14:sldId id="257"/>
            <p14:sldId id="14998703"/>
            <p14:sldId id="14998819"/>
          </p14:sldIdLst>
        </p14:section>
        <p14:section name="1 Introduction" id="{6F8303D4-AF40-4A11-9CFD-8A6859B2F582}">
          <p14:sldIdLst>
            <p14:sldId id="14998704"/>
            <p14:sldId id="14998820"/>
            <p14:sldId id="14998821"/>
            <p14:sldId id="14998822"/>
          </p14:sldIdLst>
        </p14:section>
        <p14:section name="2 Tool1 Embodied Robots" id="{20D9004A-E7D4-4BCF-B3D4-79649476B34B}">
          <p14:sldIdLst>
            <p14:sldId id="14998705"/>
            <p14:sldId id="14998832"/>
            <p14:sldId id="14998716"/>
            <p14:sldId id="14998824"/>
            <p14:sldId id="14998717"/>
            <p14:sldId id="14998826"/>
            <p14:sldId id="14998718"/>
            <p14:sldId id="14998827"/>
            <p14:sldId id="14998719"/>
            <p14:sldId id="14998828"/>
            <p14:sldId id="14998720"/>
            <p14:sldId id="14998829"/>
            <p14:sldId id="14998721"/>
            <p14:sldId id="14998830"/>
            <p14:sldId id="14998722"/>
            <p14:sldId id="14998831"/>
          </p14:sldIdLst>
        </p14:section>
        <p14:section name="3 Tool2 Embodied Simulators" id="{AA50B915-8670-4405-ADA3-6C86344C0D8B}">
          <p14:sldIdLst>
            <p14:sldId id="14998706"/>
            <p14:sldId id="14998833"/>
            <p14:sldId id="14998727"/>
            <p14:sldId id="14998834"/>
            <p14:sldId id="14998728"/>
            <p14:sldId id="14998835"/>
            <p14:sldId id="14998847"/>
            <p14:sldId id="14998838"/>
            <p14:sldId id="14998839"/>
            <p14:sldId id="14998840"/>
            <p14:sldId id="14998841"/>
            <p14:sldId id="14998842"/>
            <p14:sldId id="14998843"/>
            <p14:sldId id="14998844"/>
            <p14:sldId id="14998845"/>
            <p14:sldId id="14998846"/>
            <p14:sldId id="14998729"/>
            <p14:sldId id="14998836"/>
            <p14:sldId id="14998848"/>
            <p14:sldId id="14998849"/>
            <p14:sldId id="14998850"/>
            <p14:sldId id="14998851"/>
            <p14:sldId id="14998852"/>
            <p14:sldId id="14998853"/>
            <p14:sldId id="14998854"/>
            <p14:sldId id="14998730"/>
            <p14:sldId id="14998859"/>
            <p14:sldId id="14998837"/>
            <p14:sldId id="14998860"/>
            <p14:sldId id="14998861"/>
          </p14:sldIdLst>
        </p14:section>
        <p14:section name="4 Task1 Embodied Perception" id="{69A7A93D-D3AC-465B-A25B-CA79596320FA}">
          <p14:sldIdLst>
            <p14:sldId id="14998707"/>
            <p14:sldId id="14998862"/>
            <p14:sldId id="14998735"/>
            <p14:sldId id="14998863"/>
            <p14:sldId id="14998736"/>
            <p14:sldId id="14998864"/>
            <p14:sldId id="14998737"/>
            <p14:sldId id="14998865"/>
            <p14:sldId id="14998738"/>
            <p14:sldId id="14998866"/>
            <p14:sldId id="14998739"/>
            <p14:sldId id="14998867"/>
            <p14:sldId id="14998740"/>
            <p14:sldId id="14998868"/>
            <p14:sldId id="14998741"/>
            <p14:sldId id="14998869"/>
            <p14:sldId id="14998742"/>
            <p14:sldId id="14998870"/>
            <p14:sldId id="14998743"/>
            <p14:sldId id="14998871"/>
            <p14:sldId id="14998744"/>
            <p14:sldId id="14998872"/>
            <p14:sldId id="14998745"/>
            <p14:sldId id="14998873"/>
            <p14:sldId id="14998746"/>
            <p14:sldId id="14998874"/>
            <p14:sldId id="14998747"/>
            <p14:sldId id="14998875"/>
            <p14:sldId id="14998748"/>
            <p14:sldId id="14998876"/>
            <p14:sldId id="14998749"/>
            <p14:sldId id="14998877"/>
            <p14:sldId id="14998750"/>
            <p14:sldId id="14998878"/>
            <p14:sldId id="14998751"/>
            <p14:sldId id="14998879"/>
            <p14:sldId id="14998752"/>
            <p14:sldId id="14998880"/>
            <p14:sldId id="14998753"/>
            <p14:sldId id="14998881"/>
          </p14:sldIdLst>
        </p14:section>
        <p14:section name="5 Task2 Embodied Interaction" id="{467EB094-BA64-4AF7-9EA7-51502B2AB01A}">
          <p14:sldIdLst>
            <p14:sldId id="14998708"/>
            <p14:sldId id="14998933"/>
            <p14:sldId id="14998758"/>
            <p14:sldId id="14998932"/>
            <p14:sldId id="14998759"/>
            <p14:sldId id="14998931"/>
            <p14:sldId id="14998760"/>
            <p14:sldId id="14998930"/>
            <p14:sldId id="14998761"/>
            <p14:sldId id="14998929"/>
            <p14:sldId id="14998762"/>
            <p14:sldId id="14998928"/>
            <p14:sldId id="14998763"/>
            <p14:sldId id="14998927"/>
            <p14:sldId id="14998764"/>
            <p14:sldId id="14998926"/>
            <p14:sldId id="14998765"/>
            <p14:sldId id="14998925"/>
            <p14:sldId id="14998766"/>
            <p14:sldId id="14998924"/>
            <p14:sldId id="14998767"/>
            <p14:sldId id="14998923"/>
            <p14:sldId id="14998768"/>
            <p14:sldId id="14998922"/>
            <p14:sldId id="14998769"/>
            <p14:sldId id="14998921"/>
            <p14:sldId id="14998770"/>
            <p14:sldId id="14998920"/>
            <p14:sldId id="14998771"/>
            <p14:sldId id="14998919"/>
          </p14:sldIdLst>
        </p14:section>
        <p14:section name="6 Task3 Embodied Agent" id="{60571470-3D91-43CD-8D05-0C8720B13ECB}">
          <p14:sldIdLst>
            <p14:sldId id="14998709"/>
            <p14:sldId id="14998918"/>
            <p14:sldId id="14998776"/>
            <p14:sldId id="14998917"/>
            <p14:sldId id="14998777"/>
            <p14:sldId id="14998916"/>
            <p14:sldId id="14998778"/>
            <p14:sldId id="14998915"/>
            <p14:sldId id="14998779"/>
            <p14:sldId id="14998914"/>
            <p14:sldId id="14998780"/>
            <p14:sldId id="14998913"/>
            <p14:sldId id="14998781"/>
            <p14:sldId id="14998912"/>
            <p14:sldId id="14998782"/>
            <p14:sldId id="14998911"/>
            <p14:sldId id="14998783"/>
            <p14:sldId id="14998910"/>
            <p14:sldId id="14998784"/>
            <p14:sldId id="14998909"/>
            <p14:sldId id="14998785"/>
            <p14:sldId id="14998908"/>
            <p14:sldId id="14998786"/>
            <p14:sldId id="14998907"/>
          </p14:sldIdLst>
        </p14:section>
        <p14:section name="7 Task4 Sim2Real Adaptation" id="{7E40EFE9-F9FC-44FA-9052-B3C3D24731DA}">
          <p14:sldIdLst>
            <p14:sldId id="14998710"/>
            <p14:sldId id="14998906"/>
            <p14:sldId id="14998791"/>
            <p14:sldId id="14998905"/>
            <p14:sldId id="14998792"/>
            <p14:sldId id="14998904"/>
            <p14:sldId id="14998793"/>
            <p14:sldId id="14998903"/>
            <p14:sldId id="14998794"/>
            <p14:sldId id="14998902"/>
            <p14:sldId id="14998795"/>
            <p14:sldId id="14998901"/>
            <p14:sldId id="14998796"/>
            <p14:sldId id="14998900"/>
            <p14:sldId id="14998797"/>
            <p14:sldId id="14998899"/>
            <p14:sldId id="14998798"/>
            <p14:sldId id="14998898"/>
            <p14:sldId id="14998799"/>
            <p14:sldId id="14998897"/>
            <p14:sldId id="14998800"/>
            <p14:sldId id="14998896"/>
            <p14:sldId id="14998801"/>
            <p14:sldId id="14998895"/>
            <p14:sldId id="14998802"/>
            <p14:sldId id="14998894"/>
            <p14:sldId id="14998803"/>
            <p14:sldId id="14998893"/>
            <p14:sldId id="14998804"/>
            <p14:sldId id="14998892"/>
            <p14:sldId id="14998805"/>
            <p14:sldId id="14998891"/>
            <p14:sldId id="14998806"/>
            <p14:sldId id="14998890"/>
            <p14:sldId id="14998807"/>
            <p14:sldId id="14998889"/>
          </p14:sldIdLst>
        </p14:section>
        <p14:section name="8 Challenges &amp; Future Directions" id="{7482D47B-E1B4-42D9-8734-2EF6F5E37A17}">
          <p14:sldIdLst>
            <p14:sldId id="14998711"/>
            <p14:sldId id="14998888"/>
            <p14:sldId id="14998812"/>
            <p14:sldId id="14998887"/>
            <p14:sldId id="14998813"/>
            <p14:sldId id="14998886"/>
            <p14:sldId id="14998814"/>
            <p14:sldId id="14998885"/>
            <p14:sldId id="14998815"/>
            <p14:sldId id="14998884"/>
            <p14:sldId id="14998816"/>
            <p14:sldId id="14998883"/>
            <p14:sldId id="14998817"/>
            <p14:sldId id="14998882"/>
            <p14:sldId id="14998818"/>
            <p14:sldId id="1499882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36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126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slide" Target="slides/slide158.xml"/><Relationship Id="rId170" Type="http://schemas.openxmlformats.org/officeDocument/2006/relationships/slide" Target="slides/slide169.xml"/><Relationship Id="rId191" Type="http://schemas.openxmlformats.org/officeDocument/2006/relationships/slide" Target="slides/slide190.xml"/><Relationship Id="rId205" Type="http://schemas.openxmlformats.org/officeDocument/2006/relationships/theme" Target="theme/theme1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81" Type="http://schemas.openxmlformats.org/officeDocument/2006/relationships/slide" Target="slides/slide180.xml"/><Relationship Id="rId22" Type="http://schemas.openxmlformats.org/officeDocument/2006/relationships/slide" Target="slides/slide21.xml"/><Relationship Id="rId43" Type="http://schemas.openxmlformats.org/officeDocument/2006/relationships/slide" Target="slides/slide42.xml"/><Relationship Id="rId64" Type="http://schemas.openxmlformats.org/officeDocument/2006/relationships/slide" Target="slides/slide63.xml"/><Relationship Id="rId118" Type="http://schemas.openxmlformats.org/officeDocument/2006/relationships/slide" Target="slides/slide117.xml"/><Relationship Id="rId139" Type="http://schemas.openxmlformats.org/officeDocument/2006/relationships/slide" Target="slides/slide138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71" Type="http://schemas.openxmlformats.org/officeDocument/2006/relationships/slide" Target="slides/slide170.xml"/><Relationship Id="rId192" Type="http://schemas.openxmlformats.org/officeDocument/2006/relationships/slide" Target="slides/slide191.xml"/><Relationship Id="rId206" Type="http://schemas.openxmlformats.org/officeDocument/2006/relationships/tableStyles" Target="tableStyles.xml"/><Relationship Id="rId12" Type="http://schemas.openxmlformats.org/officeDocument/2006/relationships/slide" Target="slides/slide11.xml"/><Relationship Id="rId33" Type="http://schemas.openxmlformats.org/officeDocument/2006/relationships/slide" Target="slides/slide32.xml"/><Relationship Id="rId108" Type="http://schemas.openxmlformats.org/officeDocument/2006/relationships/slide" Target="slides/slide107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5" Type="http://schemas.openxmlformats.org/officeDocument/2006/relationships/slide" Target="slides/slide74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61" Type="http://schemas.openxmlformats.org/officeDocument/2006/relationships/slide" Target="slides/slide160.xml"/><Relationship Id="rId182" Type="http://schemas.openxmlformats.org/officeDocument/2006/relationships/slide" Target="slides/slide18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5" Type="http://schemas.openxmlformats.org/officeDocument/2006/relationships/slide" Target="slides/slide64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51" Type="http://schemas.openxmlformats.org/officeDocument/2006/relationships/slide" Target="slides/slide150.xml"/><Relationship Id="rId172" Type="http://schemas.openxmlformats.org/officeDocument/2006/relationships/slide" Target="slides/slide171.xml"/><Relationship Id="rId193" Type="http://schemas.openxmlformats.org/officeDocument/2006/relationships/slide" Target="slides/slide192.xml"/><Relationship Id="rId13" Type="http://schemas.openxmlformats.org/officeDocument/2006/relationships/slide" Target="slides/slide12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20" Type="http://schemas.openxmlformats.org/officeDocument/2006/relationships/slide" Target="slides/slide119.xml"/><Relationship Id="rId141" Type="http://schemas.openxmlformats.org/officeDocument/2006/relationships/slide" Target="slides/slide140.xml"/><Relationship Id="rId7" Type="http://schemas.openxmlformats.org/officeDocument/2006/relationships/slide" Target="slides/slide6.xml"/><Relationship Id="rId162" Type="http://schemas.openxmlformats.org/officeDocument/2006/relationships/slide" Target="slides/slide161.xml"/><Relationship Id="rId183" Type="http://schemas.openxmlformats.org/officeDocument/2006/relationships/slide" Target="slides/slide182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slide" Target="slides/slide177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slide" Target="slides/slide172.xml"/><Relationship Id="rId194" Type="http://schemas.openxmlformats.org/officeDocument/2006/relationships/slide" Target="slides/slide193.xml"/><Relationship Id="rId199" Type="http://schemas.openxmlformats.org/officeDocument/2006/relationships/slide" Target="slides/slide198.xml"/><Relationship Id="rId203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184" Type="http://schemas.openxmlformats.org/officeDocument/2006/relationships/slide" Target="slides/slide183.xml"/><Relationship Id="rId189" Type="http://schemas.openxmlformats.org/officeDocument/2006/relationships/slide" Target="slides/slide188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slide" Target="slides/slide173.xml"/><Relationship Id="rId179" Type="http://schemas.openxmlformats.org/officeDocument/2006/relationships/slide" Target="slides/slide178.xml"/><Relationship Id="rId195" Type="http://schemas.openxmlformats.org/officeDocument/2006/relationships/slide" Target="slides/slide194.xml"/><Relationship Id="rId190" Type="http://schemas.openxmlformats.org/officeDocument/2006/relationships/slide" Target="slides/slide189.xml"/><Relationship Id="rId204" Type="http://schemas.openxmlformats.org/officeDocument/2006/relationships/viewProps" Target="viewProp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185" Type="http://schemas.openxmlformats.org/officeDocument/2006/relationships/slide" Target="slides/slide18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80" Type="http://schemas.openxmlformats.org/officeDocument/2006/relationships/slide" Target="slides/slide179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slide" Target="slides/slide153.xml"/><Relationship Id="rId175" Type="http://schemas.openxmlformats.org/officeDocument/2006/relationships/slide" Target="slides/slide174.xml"/><Relationship Id="rId196" Type="http://schemas.openxmlformats.org/officeDocument/2006/relationships/slide" Target="slides/slide195.xml"/><Relationship Id="rId200" Type="http://schemas.openxmlformats.org/officeDocument/2006/relationships/slide" Target="slides/slide199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Relationship Id="rId165" Type="http://schemas.openxmlformats.org/officeDocument/2006/relationships/slide" Target="slides/slide164.xml"/><Relationship Id="rId186" Type="http://schemas.openxmlformats.org/officeDocument/2006/relationships/slide" Target="slides/slide185.xml"/><Relationship Id="rId27" Type="http://schemas.openxmlformats.org/officeDocument/2006/relationships/slide" Target="slides/slide26.xml"/><Relationship Id="rId48" Type="http://schemas.openxmlformats.org/officeDocument/2006/relationships/slide" Target="slides/slide47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34" Type="http://schemas.openxmlformats.org/officeDocument/2006/relationships/slide" Target="slides/slide133.xml"/><Relationship Id="rId80" Type="http://schemas.openxmlformats.org/officeDocument/2006/relationships/slide" Target="slides/slide79.xml"/><Relationship Id="rId155" Type="http://schemas.openxmlformats.org/officeDocument/2006/relationships/slide" Target="slides/slide154.xml"/><Relationship Id="rId176" Type="http://schemas.openxmlformats.org/officeDocument/2006/relationships/slide" Target="slides/slide175.xml"/><Relationship Id="rId197" Type="http://schemas.openxmlformats.org/officeDocument/2006/relationships/slide" Target="slides/slide196.xml"/><Relationship Id="rId201" Type="http://schemas.openxmlformats.org/officeDocument/2006/relationships/slide" Target="slides/slide200.xml"/><Relationship Id="rId17" Type="http://schemas.openxmlformats.org/officeDocument/2006/relationships/slide" Target="slides/slide16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24" Type="http://schemas.openxmlformats.org/officeDocument/2006/relationships/slide" Target="slides/slide123.xml"/><Relationship Id="rId70" Type="http://schemas.openxmlformats.org/officeDocument/2006/relationships/slide" Target="slides/slide69.xml"/><Relationship Id="rId91" Type="http://schemas.openxmlformats.org/officeDocument/2006/relationships/slide" Target="slides/slide90.xml"/><Relationship Id="rId145" Type="http://schemas.openxmlformats.org/officeDocument/2006/relationships/slide" Target="slides/slide144.xml"/><Relationship Id="rId166" Type="http://schemas.openxmlformats.org/officeDocument/2006/relationships/slide" Target="slides/slide165.xml"/><Relationship Id="rId187" Type="http://schemas.openxmlformats.org/officeDocument/2006/relationships/slide" Target="slides/slide186.xml"/><Relationship Id="rId1" Type="http://schemas.openxmlformats.org/officeDocument/2006/relationships/slideMaster" Target="slideMasters/slideMaster1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60" Type="http://schemas.openxmlformats.org/officeDocument/2006/relationships/slide" Target="slides/slide59.xml"/><Relationship Id="rId81" Type="http://schemas.openxmlformats.org/officeDocument/2006/relationships/slide" Target="slides/slide80.xml"/><Relationship Id="rId135" Type="http://schemas.openxmlformats.org/officeDocument/2006/relationships/slide" Target="slides/slide134.xml"/><Relationship Id="rId156" Type="http://schemas.openxmlformats.org/officeDocument/2006/relationships/slide" Target="slides/slide155.xml"/><Relationship Id="rId177" Type="http://schemas.openxmlformats.org/officeDocument/2006/relationships/slide" Target="slides/slide176.xml"/><Relationship Id="rId198" Type="http://schemas.openxmlformats.org/officeDocument/2006/relationships/slide" Target="slides/slide197.xml"/><Relationship Id="rId202" Type="http://schemas.openxmlformats.org/officeDocument/2006/relationships/tags" Target="tags/tag1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50" Type="http://schemas.openxmlformats.org/officeDocument/2006/relationships/slide" Target="slides/slide49.xml"/><Relationship Id="rId104" Type="http://schemas.openxmlformats.org/officeDocument/2006/relationships/slide" Target="slides/slide103.xml"/><Relationship Id="rId125" Type="http://schemas.openxmlformats.org/officeDocument/2006/relationships/slide" Target="slides/slide124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188" Type="http://schemas.openxmlformats.org/officeDocument/2006/relationships/slide" Target="slides/slide187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8D4060-BC75-30CA-208D-876286C76F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B48E227-2883-E949-D2FB-AA98563173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49F8715-B201-6113-3AE9-3544F86B7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0C9B3CC-C8E4-932E-5AB7-0D0866BD3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5C9FEB6-6E71-6055-71F2-8BBB2F9FB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229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AE6BE3-6E4F-37B9-7B00-C580BDE37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2207F85-CA62-777D-3B0A-0176691A94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CD0957A-DF22-7773-7D26-B8C01CA31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4ADC174-D4FF-2138-AFCF-3B8229A6F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A613F5A-0135-81DD-00E2-5E435DBE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115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058CB87-8CE4-D60E-CB7B-2E48F324AA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114797F-F8F3-D2D9-8899-B0ACFDF57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B9876B4-13BE-EB83-DE02-B856CFF1E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E6BEE57-1ABD-36EC-8224-C1C1F0FAD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D2548B8-4B27-804B-1C46-8DDC464E0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437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2881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9B3C1A-EC51-E359-3C4F-44EA1EBFE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DF4EE5D-6523-EDD1-B70C-7A9A33706D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90E2E5-6946-6E47-7BA1-7DE5657D6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DBC75B9-1A39-715B-CDDF-4DE348B74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3B2A842-CC49-7B4D-33A1-1D27E653A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294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8B5EF6-68E0-EA01-E159-F80FF00D7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B920E3A-AC78-C6FF-C75F-2A7DC2EE57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F456EC9-1A0D-4DA7-0D63-516628D2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C880974-BE0C-3129-518F-1C8412BF5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7A1CD86-545E-5789-8398-2670F7019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5592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6DE5967-8DF5-890F-4B5B-7B8854032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4CFA99-3A23-473B-F243-2DC1D072B1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D5FA356-51EC-D5A6-3C2B-28D14E3707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4CAAA29-87F1-2264-1781-9E8B62A29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07215C4-7472-A28D-D97A-2A8831122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1C62A9-BC11-49B4-2280-396BD5A073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26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D05104-67D2-F9E0-0786-06D4157DB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8B9FE4F-19D4-E0E1-A538-B55FDD9B61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463F6DD-D9EA-CBDE-B40A-B4AAC57836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09FB87E3-4D6E-06BF-03B6-23784E731F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8AC1F0C8-4374-9A76-3FFF-352869AD42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2AA80D9E-6DB1-71F9-80FF-6618D634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DFDF3DC2-FCDB-B180-0312-28CA514CE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9E9F1702-B20F-318E-81BF-0CF3A2EDC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11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637183-D835-3C1F-846B-95C383B69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B3A84B9-5E54-517D-9A9B-BC4FAB19F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77C10F8-1BF0-6A47-CDE1-699C121E1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C1F7630-E47A-7343-074C-04D56BCA0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030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0E66181-BFCC-6F1A-8B46-94C4A17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A51886-B814-B3C0-179A-A28AEF386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D5CFDA9-2A25-9953-A54D-8ABE3D8FB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243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0D4D008-CAFD-E4BD-05BC-7E7087D82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F3B6E20-6713-EE39-9D1C-2B426F3FD7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2F0A81C-38A6-8139-C15E-CB229588AE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A727708-D712-201B-7DD9-78CD2C79C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B233939-5EFD-C8F3-5D41-9FAE54DB6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233FEAE-67B6-3D50-0000-13545B508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895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9B9562-6470-D60F-FB90-7060A5E8A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D4D4F342-0EC1-5038-3CB1-A882412B67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CD7AC45-6DB2-7CB4-DC7A-8F8EEC1F07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694C8DF-8C51-D096-F80A-B0342AAA8E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5F77C03-5B77-2A1B-9C81-5EDF63E5B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86415E9-1F15-B7E3-7A04-C7EA8C206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515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DE2F1B7-EF5F-CFFF-0742-A16FF4766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51162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" imgW="473" imgH="476" progId="TCLayout.ActiveDocument.1">
                  <p:embed/>
                </p:oleObj>
              </mc:Choice>
              <mc:Fallback>
                <p:oleObj name="think-cell 幻灯片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11CCE7F-69A2-8822-9152-1D468F6C9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60C9E29-34CE-030C-991C-2CF26A808D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81C5E06-185F-27A0-BE61-29D1465E77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EE26DA-41BE-41F2-8526-478C51E3B2EA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E655C2D-9135-0928-BD59-AF87FC0297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F07BB93-A763-A521-EDAE-59ECD87CE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457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13" Type="http://schemas.openxmlformats.org/officeDocument/2006/relationships/tags" Target="../tags/tag1025.xml"/><Relationship Id="rId18" Type="http://schemas.openxmlformats.org/officeDocument/2006/relationships/tags" Target="../tags/tag1030.xml"/><Relationship Id="rId26" Type="http://schemas.openxmlformats.org/officeDocument/2006/relationships/tags" Target="../tags/tag1038.xml"/><Relationship Id="rId3" Type="http://schemas.openxmlformats.org/officeDocument/2006/relationships/tags" Target="../tags/tag1015.xml"/><Relationship Id="rId21" Type="http://schemas.openxmlformats.org/officeDocument/2006/relationships/tags" Target="../tags/tag1033.xml"/><Relationship Id="rId34" Type="http://schemas.openxmlformats.org/officeDocument/2006/relationships/slide" Target="slide101.xml"/><Relationship Id="rId7" Type="http://schemas.openxmlformats.org/officeDocument/2006/relationships/tags" Target="../tags/tag1019.xml"/><Relationship Id="rId12" Type="http://schemas.openxmlformats.org/officeDocument/2006/relationships/tags" Target="../tags/tag1024.xml"/><Relationship Id="rId17" Type="http://schemas.openxmlformats.org/officeDocument/2006/relationships/tags" Target="../tags/tag1029.xml"/><Relationship Id="rId25" Type="http://schemas.openxmlformats.org/officeDocument/2006/relationships/tags" Target="../tags/tag1037.xml"/><Relationship Id="rId33" Type="http://schemas.openxmlformats.org/officeDocument/2006/relationships/slide" Target="slide103.xml"/><Relationship Id="rId2" Type="http://schemas.openxmlformats.org/officeDocument/2006/relationships/tags" Target="../tags/tag1014.xml"/><Relationship Id="rId16" Type="http://schemas.openxmlformats.org/officeDocument/2006/relationships/tags" Target="../tags/tag1028.xml"/><Relationship Id="rId20" Type="http://schemas.openxmlformats.org/officeDocument/2006/relationships/tags" Target="../tags/tag1032.xml"/><Relationship Id="rId29" Type="http://schemas.openxmlformats.org/officeDocument/2006/relationships/slide" Target="slide111.xml"/><Relationship Id="rId1" Type="http://schemas.openxmlformats.org/officeDocument/2006/relationships/tags" Target="../tags/tag1013.xml"/><Relationship Id="rId6" Type="http://schemas.openxmlformats.org/officeDocument/2006/relationships/tags" Target="../tags/tag1018.xml"/><Relationship Id="rId11" Type="http://schemas.openxmlformats.org/officeDocument/2006/relationships/tags" Target="../tags/tag1023.xml"/><Relationship Id="rId24" Type="http://schemas.openxmlformats.org/officeDocument/2006/relationships/tags" Target="../tags/tag1036.xml"/><Relationship Id="rId32" Type="http://schemas.openxmlformats.org/officeDocument/2006/relationships/slide" Target="slide105.xml"/><Relationship Id="rId5" Type="http://schemas.openxmlformats.org/officeDocument/2006/relationships/tags" Target="../tags/tag1017.xml"/><Relationship Id="rId15" Type="http://schemas.openxmlformats.org/officeDocument/2006/relationships/tags" Target="../tags/tag1027.xml"/><Relationship Id="rId23" Type="http://schemas.openxmlformats.org/officeDocument/2006/relationships/tags" Target="../tags/tag1035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97.xml"/><Relationship Id="rId10" Type="http://schemas.openxmlformats.org/officeDocument/2006/relationships/tags" Target="../tags/tag1022.xml"/><Relationship Id="rId19" Type="http://schemas.openxmlformats.org/officeDocument/2006/relationships/tags" Target="../tags/tag1031.xml"/><Relationship Id="rId31" Type="http://schemas.openxmlformats.org/officeDocument/2006/relationships/slide" Target="slide107.xml"/><Relationship Id="rId4" Type="http://schemas.openxmlformats.org/officeDocument/2006/relationships/tags" Target="../tags/tag1016.xml"/><Relationship Id="rId9" Type="http://schemas.openxmlformats.org/officeDocument/2006/relationships/tags" Target="../tags/tag1021.xml"/><Relationship Id="rId14" Type="http://schemas.openxmlformats.org/officeDocument/2006/relationships/tags" Target="../tags/tag1026.xml"/><Relationship Id="rId22" Type="http://schemas.openxmlformats.org/officeDocument/2006/relationships/tags" Target="../tags/tag1034.xml"/><Relationship Id="rId27" Type="http://schemas.openxmlformats.org/officeDocument/2006/relationships/tags" Target="../tags/tag1039.xml"/><Relationship Id="rId30" Type="http://schemas.openxmlformats.org/officeDocument/2006/relationships/slide" Target="slide109.xml"/><Relationship Id="rId35" Type="http://schemas.openxmlformats.org/officeDocument/2006/relationships/slide" Target="slide99.xml"/><Relationship Id="rId8" Type="http://schemas.openxmlformats.org/officeDocument/2006/relationships/tags" Target="../tags/tag1020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13" Type="http://schemas.openxmlformats.org/officeDocument/2006/relationships/tags" Target="../tags/tag1052.xml"/><Relationship Id="rId18" Type="http://schemas.openxmlformats.org/officeDocument/2006/relationships/tags" Target="../tags/tag1057.xml"/><Relationship Id="rId26" Type="http://schemas.openxmlformats.org/officeDocument/2006/relationships/tags" Target="../tags/tag1065.xml"/><Relationship Id="rId3" Type="http://schemas.openxmlformats.org/officeDocument/2006/relationships/tags" Target="../tags/tag1042.xml"/><Relationship Id="rId21" Type="http://schemas.openxmlformats.org/officeDocument/2006/relationships/tags" Target="../tags/tag1060.xml"/><Relationship Id="rId34" Type="http://schemas.openxmlformats.org/officeDocument/2006/relationships/slide" Target="slide101.xml"/><Relationship Id="rId7" Type="http://schemas.openxmlformats.org/officeDocument/2006/relationships/tags" Target="../tags/tag1046.xml"/><Relationship Id="rId12" Type="http://schemas.openxmlformats.org/officeDocument/2006/relationships/tags" Target="../tags/tag1051.xml"/><Relationship Id="rId17" Type="http://schemas.openxmlformats.org/officeDocument/2006/relationships/tags" Target="../tags/tag1056.xml"/><Relationship Id="rId25" Type="http://schemas.openxmlformats.org/officeDocument/2006/relationships/tags" Target="../tags/tag1064.xml"/><Relationship Id="rId33" Type="http://schemas.openxmlformats.org/officeDocument/2006/relationships/slide" Target="slide103.xml"/><Relationship Id="rId2" Type="http://schemas.openxmlformats.org/officeDocument/2006/relationships/tags" Target="../tags/tag1041.xml"/><Relationship Id="rId16" Type="http://schemas.openxmlformats.org/officeDocument/2006/relationships/tags" Target="../tags/tag1055.xml"/><Relationship Id="rId20" Type="http://schemas.openxmlformats.org/officeDocument/2006/relationships/tags" Target="../tags/tag1059.xml"/><Relationship Id="rId29" Type="http://schemas.openxmlformats.org/officeDocument/2006/relationships/slide" Target="slide111.xml"/><Relationship Id="rId1" Type="http://schemas.openxmlformats.org/officeDocument/2006/relationships/tags" Target="../tags/tag1040.xml"/><Relationship Id="rId6" Type="http://schemas.openxmlformats.org/officeDocument/2006/relationships/tags" Target="../tags/tag1045.xml"/><Relationship Id="rId11" Type="http://schemas.openxmlformats.org/officeDocument/2006/relationships/tags" Target="../tags/tag1050.xml"/><Relationship Id="rId24" Type="http://schemas.openxmlformats.org/officeDocument/2006/relationships/tags" Target="../tags/tag1063.xml"/><Relationship Id="rId32" Type="http://schemas.openxmlformats.org/officeDocument/2006/relationships/slide" Target="slide105.xml"/><Relationship Id="rId5" Type="http://schemas.openxmlformats.org/officeDocument/2006/relationships/tags" Target="../tags/tag1044.xml"/><Relationship Id="rId15" Type="http://schemas.openxmlformats.org/officeDocument/2006/relationships/tags" Target="../tags/tag1054.xml"/><Relationship Id="rId23" Type="http://schemas.openxmlformats.org/officeDocument/2006/relationships/tags" Target="../tags/tag1062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97.xml"/><Relationship Id="rId10" Type="http://schemas.openxmlformats.org/officeDocument/2006/relationships/tags" Target="../tags/tag1049.xml"/><Relationship Id="rId19" Type="http://schemas.openxmlformats.org/officeDocument/2006/relationships/tags" Target="../tags/tag1058.xml"/><Relationship Id="rId31" Type="http://schemas.openxmlformats.org/officeDocument/2006/relationships/slide" Target="slide107.xml"/><Relationship Id="rId4" Type="http://schemas.openxmlformats.org/officeDocument/2006/relationships/tags" Target="../tags/tag1043.xml"/><Relationship Id="rId9" Type="http://schemas.openxmlformats.org/officeDocument/2006/relationships/tags" Target="../tags/tag1048.xml"/><Relationship Id="rId14" Type="http://schemas.openxmlformats.org/officeDocument/2006/relationships/tags" Target="../tags/tag1053.xml"/><Relationship Id="rId22" Type="http://schemas.openxmlformats.org/officeDocument/2006/relationships/tags" Target="../tags/tag1061.xml"/><Relationship Id="rId27" Type="http://schemas.openxmlformats.org/officeDocument/2006/relationships/tags" Target="../tags/tag1066.xml"/><Relationship Id="rId30" Type="http://schemas.openxmlformats.org/officeDocument/2006/relationships/slide" Target="slide109.xml"/><Relationship Id="rId35" Type="http://schemas.openxmlformats.org/officeDocument/2006/relationships/slide" Target="slide99.xml"/><Relationship Id="rId8" Type="http://schemas.openxmlformats.org/officeDocument/2006/relationships/tags" Target="../tags/tag1047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13" Type="http://schemas.openxmlformats.org/officeDocument/2006/relationships/tags" Target="../tags/tag1079.xml"/><Relationship Id="rId18" Type="http://schemas.openxmlformats.org/officeDocument/2006/relationships/tags" Target="../tags/tag1084.xml"/><Relationship Id="rId26" Type="http://schemas.openxmlformats.org/officeDocument/2006/relationships/tags" Target="../tags/tag1092.xml"/><Relationship Id="rId3" Type="http://schemas.openxmlformats.org/officeDocument/2006/relationships/tags" Target="../tags/tag1069.xml"/><Relationship Id="rId21" Type="http://schemas.openxmlformats.org/officeDocument/2006/relationships/tags" Target="../tags/tag1087.xml"/><Relationship Id="rId34" Type="http://schemas.openxmlformats.org/officeDocument/2006/relationships/slide" Target="slide101.xml"/><Relationship Id="rId7" Type="http://schemas.openxmlformats.org/officeDocument/2006/relationships/tags" Target="../tags/tag1073.xml"/><Relationship Id="rId12" Type="http://schemas.openxmlformats.org/officeDocument/2006/relationships/tags" Target="../tags/tag1078.xml"/><Relationship Id="rId17" Type="http://schemas.openxmlformats.org/officeDocument/2006/relationships/tags" Target="../tags/tag1083.xml"/><Relationship Id="rId25" Type="http://schemas.openxmlformats.org/officeDocument/2006/relationships/tags" Target="../tags/tag1091.xml"/><Relationship Id="rId33" Type="http://schemas.openxmlformats.org/officeDocument/2006/relationships/slide" Target="slide103.xml"/><Relationship Id="rId2" Type="http://schemas.openxmlformats.org/officeDocument/2006/relationships/tags" Target="../tags/tag1068.xml"/><Relationship Id="rId16" Type="http://schemas.openxmlformats.org/officeDocument/2006/relationships/tags" Target="../tags/tag1082.xml"/><Relationship Id="rId20" Type="http://schemas.openxmlformats.org/officeDocument/2006/relationships/tags" Target="../tags/tag1086.xml"/><Relationship Id="rId29" Type="http://schemas.openxmlformats.org/officeDocument/2006/relationships/slide" Target="slide111.xml"/><Relationship Id="rId1" Type="http://schemas.openxmlformats.org/officeDocument/2006/relationships/tags" Target="../tags/tag1067.xml"/><Relationship Id="rId6" Type="http://schemas.openxmlformats.org/officeDocument/2006/relationships/tags" Target="../tags/tag1072.xml"/><Relationship Id="rId11" Type="http://schemas.openxmlformats.org/officeDocument/2006/relationships/tags" Target="../tags/tag1077.xml"/><Relationship Id="rId24" Type="http://schemas.openxmlformats.org/officeDocument/2006/relationships/tags" Target="../tags/tag1090.xml"/><Relationship Id="rId32" Type="http://schemas.openxmlformats.org/officeDocument/2006/relationships/slide" Target="slide105.xml"/><Relationship Id="rId5" Type="http://schemas.openxmlformats.org/officeDocument/2006/relationships/tags" Target="../tags/tag1071.xml"/><Relationship Id="rId15" Type="http://schemas.openxmlformats.org/officeDocument/2006/relationships/tags" Target="../tags/tag1081.xml"/><Relationship Id="rId23" Type="http://schemas.openxmlformats.org/officeDocument/2006/relationships/tags" Target="../tags/tag1089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97.xml"/><Relationship Id="rId10" Type="http://schemas.openxmlformats.org/officeDocument/2006/relationships/tags" Target="../tags/tag1076.xml"/><Relationship Id="rId19" Type="http://schemas.openxmlformats.org/officeDocument/2006/relationships/tags" Target="../tags/tag1085.xml"/><Relationship Id="rId31" Type="http://schemas.openxmlformats.org/officeDocument/2006/relationships/slide" Target="slide107.xml"/><Relationship Id="rId4" Type="http://schemas.openxmlformats.org/officeDocument/2006/relationships/tags" Target="../tags/tag1070.xml"/><Relationship Id="rId9" Type="http://schemas.openxmlformats.org/officeDocument/2006/relationships/tags" Target="../tags/tag1075.xml"/><Relationship Id="rId14" Type="http://schemas.openxmlformats.org/officeDocument/2006/relationships/tags" Target="../tags/tag1080.xml"/><Relationship Id="rId22" Type="http://schemas.openxmlformats.org/officeDocument/2006/relationships/tags" Target="../tags/tag1088.xml"/><Relationship Id="rId27" Type="http://schemas.openxmlformats.org/officeDocument/2006/relationships/tags" Target="../tags/tag1093.xml"/><Relationship Id="rId30" Type="http://schemas.openxmlformats.org/officeDocument/2006/relationships/slide" Target="slide109.xml"/><Relationship Id="rId35" Type="http://schemas.openxmlformats.org/officeDocument/2006/relationships/slide" Target="slide99.xml"/><Relationship Id="rId8" Type="http://schemas.openxmlformats.org/officeDocument/2006/relationships/tags" Target="../tags/tag1074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13" Type="http://schemas.openxmlformats.org/officeDocument/2006/relationships/tags" Target="../tags/tag1106.xml"/><Relationship Id="rId18" Type="http://schemas.openxmlformats.org/officeDocument/2006/relationships/tags" Target="../tags/tag1111.xml"/><Relationship Id="rId26" Type="http://schemas.openxmlformats.org/officeDocument/2006/relationships/tags" Target="../tags/tag1119.xml"/><Relationship Id="rId3" Type="http://schemas.openxmlformats.org/officeDocument/2006/relationships/tags" Target="../tags/tag1096.xml"/><Relationship Id="rId21" Type="http://schemas.openxmlformats.org/officeDocument/2006/relationships/tags" Target="../tags/tag1114.xml"/><Relationship Id="rId34" Type="http://schemas.openxmlformats.org/officeDocument/2006/relationships/slide" Target="slide101.xml"/><Relationship Id="rId7" Type="http://schemas.openxmlformats.org/officeDocument/2006/relationships/tags" Target="../tags/tag1100.xml"/><Relationship Id="rId12" Type="http://schemas.openxmlformats.org/officeDocument/2006/relationships/tags" Target="../tags/tag1105.xml"/><Relationship Id="rId17" Type="http://schemas.openxmlformats.org/officeDocument/2006/relationships/tags" Target="../tags/tag1110.xml"/><Relationship Id="rId25" Type="http://schemas.openxmlformats.org/officeDocument/2006/relationships/tags" Target="../tags/tag1118.xml"/><Relationship Id="rId33" Type="http://schemas.openxmlformats.org/officeDocument/2006/relationships/slide" Target="slide103.xml"/><Relationship Id="rId2" Type="http://schemas.openxmlformats.org/officeDocument/2006/relationships/tags" Target="../tags/tag1095.xml"/><Relationship Id="rId16" Type="http://schemas.openxmlformats.org/officeDocument/2006/relationships/tags" Target="../tags/tag1109.xml"/><Relationship Id="rId20" Type="http://schemas.openxmlformats.org/officeDocument/2006/relationships/tags" Target="../tags/tag1113.xml"/><Relationship Id="rId29" Type="http://schemas.openxmlformats.org/officeDocument/2006/relationships/slide" Target="slide111.xml"/><Relationship Id="rId1" Type="http://schemas.openxmlformats.org/officeDocument/2006/relationships/tags" Target="../tags/tag1094.xml"/><Relationship Id="rId6" Type="http://schemas.openxmlformats.org/officeDocument/2006/relationships/tags" Target="../tags/tag1099.xml"/><Relationship Id="rId11" Type="http://schemas.openxmlformats.org/officeDocument/2006/relationships/tags" Target="../tags/tag1104.xml"/><Relationship Id="rId24" Type="http://schemas.openxmlformats.org/officeDocument/2006/relationships/tags" Target="../tags/tag1117.xml"/><Relationship Id="rId32" Type="http://schemas.openxmlformats.org/officeDocument/2006/relationships/slide" Target="slide105.xml"/><Relationship Id="rId5" Type="http://schemas.openxmlformats.org/officeDocument/2006/relationships/tags" Target="../tags/tag1098.xml"/><Relationship Id="rId15" Type="http://schemas.openxmlformats.org/officeDocument/2006/relationships/tags" Target="../tags/tag1108.xml"/><Relationship Id="rId23" Type="http://schemas.openxmlformats.org/officeDocument/2006/relationships/tags" Target="../tags/tag1116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97.xml"/><Relationship Id="rId10" Type="http://schemas.openxmlformats.org/officeDocument/2006/relationships/tags" Target="../tags/tag1103.xml"/><Relationship Id="rId19" Type="http://schemas.openxmlformats.org/officeDocument/2006/relationships/tags" Target="../tags/tag1112.xml"/><Relationship Id="rId31" Type="http://schemas.openxmlformats.org/officeDocument/2006/relationships/slide" Target="slide107.xml"/><Relationship Id="rId4" Type="http://schemas.openxmlformats.org/officeDocument/2006/relationships/tags" Target="../tags/tag1097.xml"/><Relationship Id="rId9" Type="http://schemas.openxmlformats.org/officeDocument/2006/relationships/tags" Target="../tags/tag1102.xml"/><Relationship Id="rId14" Type="http://schemas.openxmlformats.org/officeDocument/2006/relationships/tags" Target="../tags/tag1107.xml"/><Relationship Id="rId22" Type="http://schemas.openxmlformats.org/officeDocument/2006/relationships/tags" Target="../tags/tag1115.xml"/><Relationship Id="rId27" Type="http://schemas.openxmlformats.org/officeDocument/2006/relationships/tags" Target="../tags/tag1120.xml"/><Relationship Id="rId30" Type="http://schemas.openxmlformats.org/officeDocument/2006/relationships/slide" Target="slide109.xml"/><Relationship Id="rId35" Type="http://schemas.openxmlformats.org/officeDocument/2006/relationships/slide" Target="slide99.xml"/><Relationship Id="rId8" Type="http://schemas.openxmlformats.org/officeDocument/2006/relationships/tags" Target="../tags/tag1101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13" Type="http://schemas.openxmlformats.org/officeDocument/2006/relationships/tags" Target="../tags/tag1133.xml"/><Relationship Id="rId18" Type="http://schemas.openxmlformats.org/officeDocument/2006/relationships/tags" Target="../tags/tag1138.xml"/><Relationship Id="rId26" Type="http://schemas.openxmlformats.org/officeDocument/2006/relationships/tags" Target="../tags/tag1146.xml"/><Relationship Id="rId3" Type="http://schemas.openxmlformats.org/officeDocument/2006/relationships/tags" Target="../tags/tag1123.xml"/><Relationship Id="rId21" Type="http://schemas.openxmlformats.org/officeDocument/2006/relationships/tags" Target="../tags/tag1141.xml"/><Relationship Id="rId34" Type="http://schemas.openxmlformats.org/officeDocument/2006/relationships/slide" Target="slide101.xml"/><Relationship Id="rId7" Type="http://schemas.openxmlformats.org/officeDocument/2006/relationships/tags" Target="../tags/tag1127.xml"/><Relationship Id="rId12" Type="http://schemas.openxmlformats.org/officeDocument/2006/relationships/tags" Target="../tags/tag1132.xml"/><Relationship Id="rId17" Type="http://schemas.openxmlformats.org/officeDocument/2006/relationships/tags" Target="../tags/tag1137.xml"/><Relationship Id="rId25" Type="http://schemas.openxmlformats.org/officeDocument/2006/relationships/tags" Target="../tags/tag1145.xml"/><Relationship Id="rId33" Type="http://schemas.openxmlformats.org/officeDocument/2006/relationships/slide" Target="slide103.xml"/><Relationship Id="rId2" Type="http://schemas.openxmlformats.org/officeDocument/2006/relationships/tags" Target="../tags/tag1122.xml"/><Relationship Id="rId16" Type="http://schemas.openxmlformats.org/officeDocument/2006/relationships/tags" Target="../tags/tag1136.xml"/><Relationship Id="rId20" Type="http://schemas.openxmlformats.org/officeDocument/2006/relationships/tags" Target="../tags/tag1140.xml"/><Relationship Id="rId29" Type="http://schemas.openxmlformats.org/officeDocument/2006/relationships/slide" Target="slide111.xml"/><Relationship Id="rId1" Type="http://schemas.openxmlformats.org/officeDocument/2006/relationships/tags" Target="../tags/tag1121.xml"/><Relationship Id="rId6" Type="http://schemas.openxmlformats.org/officeDocument/2006/relationships/tags" Target="../tags/tag1126.xml"/><Relationship Id="rId11" Type="http://schemas.openxmlformats.org/officeDocument/2006/relationships/tags" Target="../tags/tag1131.xml"/><Relationship Id="rId24" Type="http://schemas.openxmlformats.org/officeDocument/2006/relationships/tags" Target="../tags/tag1144.xml"/><Relationship Id="rId32" Type="http://schemas.openxmlformats.org/officeDocument/2006/relationships/slide" Target="slide105.xml"/><Relationship Id="rId5" Type="http://schemas.openxmlformats.org/officeDocument/2006/relationships/tags" Target="../tags/tag1125.xml"/><Relationship Id="rId15" Type="http://schemas.openxmlformats.org/officeDocument/2006/relationships/tags" Target="../tags/tag1135.xml"/><Relationship Id="rId23" Type="http://schemas.openxmlformats.org/officeDocument/2006/relationships/tags" Target="../tags/tag1143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97.xml"/><Relationship Id="rId10" Type="http://schemas.openxmlformats.org/officeDocument/2006/relationships/tags" Target="../tags/tag1130.xml"/><Relationship Id="rId19" Type="http://schemas.openxmlformats.org/officeDocument/2006/relationships/tags" Target="../tags/tag1139.xml"/><Relationship Id="rId31" Type="http://schemas.openxmlformats.org/officeDocument/2006/relationships/slide" Target="slide107.xml"/><Relationship Id="rId4" Type="http://schemas.openxmlformats.org/officeDocument/2006/relationships/tags" Target="../tags/tag1124.xml"/><Relationship Id="rId9" Type="http://schemas.openxmlformats.org/officeDocument/2006/relationships/tags" Target="../tags/tag1129.xml"/><Relationship Id="rId14" Type="http://schemas.openxmlformats.org/officeDocument/2006/relationships/tags" Target="../tags/tag1134.xml"/><Relationship Id="rId22" Type="http://schemas.openxmlformats.org/officeDocument/2006/relationships/tags" Target="../tags/tag1142.xml"/><Relationship Id="rId27" Type="http://schemas.openxmlformats.org/officeDocument/2006/relationships/tags" Target="../tags/tag1147.xml"/><Relationship Id="rId30" Type="http://schemas.openxmlformats.org/officeDocument/2006/relationships/slide" Target="slide109.xml"/><Relationship Id="rId35" Type="http://schemas.openxmlformats.org/officeDocument/2006/relationships/slide" Target="slide99.xml"/><Relationship Id="rId8" Type="http://schemas.openxmlformats.org/officeDocument/2006/relationships/tags" Target="../tags/tag1128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02.xml"/><Relationship Id="rId18" Type="http://schemas.openxmlformats.org/officeDocument/2006/relationships/tags" Target="../tags/tag107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92.xml"/><Relationship Id="rId21" Type="http://schemas.openxmlformats.org/officeDocument/2006/relationships/tags" Target="../tags/tag110.xml"/><Relationship Id="rId34" Type="http://schemas.openxmlformats.org/officeDocument/2006/relationships/oleObject" Target="../embeddings/oleObject9.bin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17" Type="http://schemas.openxmlformats.org/officeDocument/2006/relationships/tags" Target="../tags/tag106.xml"/><Relationship Id="rId25" Type="http://schemas.openxmlformats.org/officeDocument/2006/relationships/tags" Target="../tags/tag114.xml"/><Relationship Id="rId33" Type="http://schemas.openxmlformats.org/officeDocument/2006/relationships/slide" Target="slide11.xml"/><Relationship Id="rId2" Type="http://schemas.openxmlformats.org/officeDocument/2006/relationships/tags" Target="../tags/tag91.xml"/><Relationship Id="rId16" Type="http://schemas.openxmlformats.org/officeDocument/2006/relationships/tags" Target="../tags/tag105.xml"/><Relationship Id="rId20" Type="http://schemas.openxmlformats.org/officeDocument/2006/relationships/tags" Target="../tags/tag109.xml"/><Relationship Id="rId29" Type="http://schemas.openxmlformats.org/officeDocument/2006/relationships/slide" Target="slide19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24" Type="http://schemas.openxmlformats.org/officeDocument/2006/relationships/tags" Target="../tags/tag113.xml"/><Relationship Id="rId32" Type="http://schemas.openxmlformats.org/officeDocument/2006/relationships/slide" Target="slide13.xml"/><Relationship Id="rId5" Type="http://schemas.openxmlformats.org/officeDocument/2006/relationships/tags" Target="../tags/tag94.xml"/><Relationship Id="rId15" Type="http://schemas.openxmlformats.org/officeDocument/2006/relationships/tags" Target="../tags/tag104.xml"/><Relationship Id="rId23" Type="http://schemas.openxmlformats.org/officeDocument/2006/relationships/tags" Target="../tags/tag112.xml"/><Relationship Id="rId28" Type="http://schemas.openxmlformats.org/officeDocument/2006/relationships/slide" Target="slide21.xml"/><Relationship Id="rId10" Type="http://schemas.openxmlformats.org/officeDocument/2006/relationships/tags" Target="../tags/tag99.xml"/><Relationship Id="rId19" Type="http://schemas.openxmlformats.org/officeDocument/2006/relationships/tags" Target="../tags/tag108.xml"/><Relationship Id="rId31" Type="http://schemas.openxmlformats.org/officeDocument/2006/relationships/slide" Target="slide15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tags" Target="../tags/tag103.xml"/><Relationship Id="rId22" Type="http://schemas.openxmlformats.org/officeDocument/2006/relationships/tags" Target="../tags/tag111.xml"/><Relationship Id="rId27" Type="http://schemas.openxmlformats.org/officeDocument/2006/relationships/slide" Target="slide23.xml"/><Relationship Id="rId30" Type="http://schemas.openxmlformats.org/officeDocument/2006/relationships/slide" Target="slide17.xml"/><Relationship Id="rId35" Type="http://schemas.openxmlformats.org/officeDocument/2006/relationships/image" Target="../media/image1.emf"/><Relationship Id="rId8" Type="http://schemas.openxmlformats.org/officeDocument/2006/relationships/tags" Target="../tags/tag97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13" Type="http://schemas.openxmlformats.org/officeDocument/2006/relationships/tags" Target="../tags/tag1160.xml"/><Relationship Id="rId18" Type="http://schemas.openxmlformats.org/officeDocument/2006/relationships/tags" Target="../tags/tag1165.xml"/><Relationship Id="rId26" Type="http://schemas.openxmlformats.org/officeDocument/2006/relationships/tags" Target="../tags/tag1173.xml"/><Relationship Id="rId39" Type="http://schemas.openxmlformats.org/officeDocument/2006/relationships/slide" Target="slide99.xml"/><Relationship Id="rId21" Type="http://schemas.openxmlformats.org/officeDocument/2006/relationships/tags" Target="../tags/tag1168.xml"/><Relationship Id="rId34" Type="http://schemas.openxmlformats.org/officeDocument/2006/relationships/slide" Target="slide119.xml"/><Relationship Id="rId7" Type="http://schemas.openxmlformats.org/officeDocument/2006/relationships/tags" Target="../tags/tag1154.xml"/><Relationship Id="rId12" Type="http://schemas.openxmlformats.org/officeDocument/2006/relationships/tags" Target="../tags/tag1159.xml"/><Relationship Id="rId17" Type="http://schemas.openxmlformats.org/officeDocument/2006/relationships/tags" Target="../tags/tag1164.xml"/><Relationship Id="rId25" Type="http://schemas.openxmlformats.org/officeDocument/2006/relationships/tags" Target="../tags/tag1172.xml"/><Relationship Id="rId33" Type="http://schemas.openxmlformats.org/officeDocument/2006/relationships/slide" Target="slide121.xml"/><Relationship Id="rId38" Type="http://schemas.openxmlformats.org/officeDocument/2006/relationships/slide" Target="slide111.xml"/><Relationship Id="rId2" Type="http://schemas.openxmlformats.org/officeDocument/2006/relationships/tags" Target="../tags/tag1149.xml"/><Relationship Id="rId16" Type="http://schemas.openxmlformats.org/officeDocument/2006/relationships/tags" Target="../tags/tag1163.xml"/><Relationship Id="rId20" Type="http://schemas.openxmlformats.org/officeDocument/2006/relationships/tags" Target="../tags/tag1167.xml"/><Relationship Id="rId29" Type="http://schemas.openxmlformats.org/officeDocument/2006/relationships/tags" Target="../tags/tag1176.xml"/><Relationship Id="rId1" Type="http://schemas.openxmlformats.org/officeDocument/2006/relationships/tags" Target="../tags/tag1148.xml"/><Relationship Id="rId6" Type="http://schemas.openxmlformats.org/officeDocument/2006/relationships/tags" Target="../tags/tag1153.xml"/><Relationship Id="rId11" Type="http://schemas.openxmlformats.org/officeDocument/2006/relationships/tags" Target="../tags/tag1158.xml"/><Relationship Id="rId24" Type="http://schemas.openxmlformats.org/officeDocument/2006/relationships/tags" Target="../tags/tag1171.xml"/><Relationship Id="rId32" Type="http://schemas.openxmlformats.org/officeDocument/2006/relationships/slide" Target="slide123.xml"/><Relationship Id="rId37" Type="http://schemas.openxmlformats.org/officeDocument/2006/relationships/slide" Target="slide113.xml"/><Relationship Id="rId40" Type="http://schemas.openxmlformats.org/officeDocument/2006/relationships/slide" Target="slide97.xml"/><Relationship Id="rId5" Type="http://schemas.openxmlformats.org/officeDocument/2006/relationships/tags" Target="../tags/tag1152.xml"/><Relationship Id="rId15" Type="http://schemas.openxmlformats.org/officeDocument/2006/relationships/tags" Target="../tags/tag1162.xml"/><Relationship Id="rId23" Type="http://schemas.openxmlformats.org/officeDocument/2006/relationships/tags" Target="../tags/tag1170.xml"/><Relationship Id="rId28" Type="http://schemas.openxmlformats.org/officeDocument/2006/relationships/tags" Target="../tags/tag1175.xml"/><Relationship Id="rId36" Type="http://schemas.openxmlformats.org/officeDocument/2006/relationships/slide" Target="slide115.xml"/><Relationship Id="rId10" Type="http://schemas.openxmlformats.org/officeDocument/2006/relationships/tags" Target="../tags/tag1157.xml"/><Relationship Id="rId19" Type="http://schemas.openxmlformats.org/officeDocument/2006/relationships/tags" Target="../tags/tag1166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151.xml"/><Relationship Id="rId9" Type="http://schemas.openxmlformats.org/officeDocument/2006/relationships/tags" Target="../tags/tag1156.xml"/><Relationship Id="rId14" Type="http://schemas.openxmlformats.org/officeDocument/2006/relationships/tags" Target="../tags/tag1161.xml"/><Relationship Id="rId22" Type="http://schemas.openxmlformats.org/officeDocument/2006/relationships/tags" Target="../tags/tag1169.xml"/><Relationship Id="rId27" Type="http://schemas.openxmlformats.org/officeDocument/2006/relationships/tags" Target="../tags/tag1174.xml"/><Relationship Id="rId30" Type="http://schemas.openxmlformats.org/officeDocument/2006/relationships/tags" Target="../tags/tag1177.xml"/><Relationship Id="rId35" Type="http://schemas.openxmlformats.org/officeDocument/2006/relationships/slide" Target="slide117.xml"/><Relationship Id="rId8" Type="http://schemas.openxmlformats.org/officeDocument/2006/relationships/tags" Target="../tags/tag1155.xml"/><Relationship Id="rId3" Type="http://schemas.openxmlformats.org/officeDocument/2006/relationships/tags" Target="../tags/tag1150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13" Type="http://schemas.openxmlformats.org/officeDocument/2006/relationships/tags" Target="../tags/tag1190.xml"/><Relationship Id="rId18" Type="http://schemas.openxmlformats.org/officeDocument/2006/relationships/tags" Target="../tags/tag1195.xml"/><Relationship Id="rId26" Type="http://schemas.openxmlformats.org/officeDocument/2006/relationships/tags" Target="../tags/tag1203.xml"/><Relationship Id="rId39" Type="http://schemas.openxmlformats.org/officeDocument/2006/relationships/slide" Target="slide99.xml"/><Relationship Id="rId21" Type="http://schemas.openxmlformats.org/officeDocument/2006/relationships/tags" Target="../tags/tag1198.xml"/><Relationship Id="rId34" Type="http://schemas.openxmlformats.org/officeDocument/2006/relationships/slide" Target="slide119.xml"/><Relationship Id="rId7" Type="http://schemas.openxmlformats.org/officeDocument/2006/relationships/tags" Target="../tags/tag1184.xml"/><Relationship Id="rId12" Type="http://schemas.openxmlformats.org/officeDocument/2006/relationships/tags" Target="../tags/tag1189.xml"/><Relationship Id="rId17" Type="http://schemas.openxmlformats.org/officeDocument/2006/relationships/tags" Target="../tags/tag1194.xml"/><Relationship Id="rId25" Type="http://schemas.openxmlformats.org/officeDocument/2006/relationships/tags" Target="../tags/tag1202.xml"/><Relationship Id="rId33" Type="http://schemas.openxmlformats.org/officeDocument/2006/relationships/slide" Target="slide121.xml"/><Relationship Id="rId38" Type="http://schemas.openxmlformats.org/officeDocument/2006/relationships/slide" Target="slide111.xml"/><Relationship Id="rId2" Type="http://schemas.openxmlformats.org/officeDocument/2006/relationships/tags" Target="../tags/tag1179.xml"/><Relationship Id="rId16" Type="http://schemas.openxmlformats.org/officeDocument/2006/relationships/tags" Target="../tags/tag1193.xml"/><Relationship Id="rId20" Type="http://schemas.openxmlformats.org/officeDocument/2006/relationships/tags" Target="../tags/tag1197.xml"/><Relationship Id="rId29" Type="http://schemas.openxmlformats.org/officeDocument/2006/relationships/tags" Target="../tags/tag1206.xml"/><Relationship Id="rId1" Type="http://schemas.openxmlformats.org/officeDocument/2006/relationships/tags" Target="../tags/tag1178.xml"/><Relationship Id="rId6" Type="http://schemas.openxmlformats.org/officeDocument/2006/relationships/tags" Target="../tags/tag1183.xml"/><Relationship Id="rId11" Type="http://schemas.openxmlformats.org/officeDocument/2006/relationships/tags" Target="../tags/tag1188.xml"/><Relationship Id="rId24" Type="http://schemas.openxmlformats.org/officeDocument/2006/relationships/tags" Target="../tags/tag1201.xml"/><Relationship Id="rId32" Type="http://schemas.openxmlformats.org/officeDocument/2006/relationships/slide" Target="slide123.xml"/><Relationship Id="rId37" Type="http://schemas.openxmlformats.org/officeDocument/2006/relationships/slide" Target="slide113.xml"/><Relationship Id="rId40" Type="http://schemas.openxmlformats.org/officeDocument/2006/relationships/slide" Target="slide97.xml"/><Relationship Id="rId5" Type="http://schemas.openxmlformats.org/officeDocument/2006/relationships/tags" Target="../tags/tag1182.xml"/><Relationship Id="rId15" Type="http://schemas.openxmlformats.org/officeDocument/2006/relationships/tags" Target="../tags/tag1192.xml"/><Relationship Id="rId23" Type="http://schemas.openxmlformats.org/officeDocument/2006/relationships/tags" Target="../tags/tag1200.xml"/><Relationship Id="rId28" Type="http://schemas.openxmlformats.org/officeDocument/2006/relationships/tags" Target="../tags/tag1205.xml"/><Relationship Id="rId36" Type="http://schemas.openxmlformats.org/officeDocument/2006/relationships/slide" Target="slide115.xml"/><Relationship Id="rId10" Type="http://schemas.openxmlformats.org/officeDocument/2006/relationships/tags" Target="../tags/tag1187.xml"/><Relationship Id="rId19" Type="http://schemas.openxmlformats.org/officeDocument/2006/relationships/tags" Target="../tags/tag1196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181.xml"/><Relationship Id="rId9" Type="http://schemas.openxmlformats.org/officeDocument/2006/relationships/tags" Target="../tags/tag1186.xml"/><Relationship Id="rId14" Type="http://schemas.openxmlformats.org/officeDocument/2006/relationships/tags" Target="../tags/tag1191.xml"/><Relationship Id="rId22" Type="http://schemas.openxmlformats.org/officeDocument/2006/relationships/tags" Target="../tags/tag1199.xml"/><Relationship Id="rId27" Type="http://schemas.openxmlformats.org/officeDocument/2006/relationships/tags" Target="../tags/tag1204.xml"/><Relationship Id="rId30" Type="http://schemas.openxmlformats.org/officeDocument/2006/relationships/tags" Target="../tags/tag1207.xml"/><Relationship Id="rId35" Type="http://schemas.openxmlformats.org/officeDocument/2006/relationships/slide" Target="slide117.xml"/><Relationship Id="rId8" Type="http://schemas.openxmlformats.org/officeDocument/2006/relationships/tags" Target="../tags/tag1185.xml"/><Relationship Id="rId3" Type="http://schemas.openxmlformats.org/officeDocument/2006/relationships/tags" Target="../tags/tag1180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13" Type="http://schemas.openxmlformats.org/officeDocument/2006/relationships/tags" Target="../tags/tag1220.xml"/><Relationship Id="rId18" Type="http://schemas.openxmlformats.org/officeDocument/2006/relationships/tags" Target="../tags/tag1225.xml"/><Relationship Id="rId26" Type="http://schemas.openxmlformats.org/officeDocument/2006/relationships/tags" Target="../tags/tag1233.xml"/><Relationship Id="rId39" Type="http://schemas.openxmlformats.org/officeDocument/2006/relationships/slide" Target="slide99.xml"/><Relationship Id="rId21" Type="http://schemas.openxmlformats.org/officeDocument/2006/relationships/tags" Target="../tags/tag1228.xml"/><Relationship Id="rId34" Type="http://schemas.openxmlformats.org/officeDocument/2006/relationships/slide" Target="slide119.xml"/><Relationship Id="rId7" Type="http://schemas.openxmlformats.org/officeDocument/2006/relationships/tags" Target="../tags/tag1214.xml"/><Relationship Id="rId12" Type="http://schemas.openxmlformats.org/officeDocument/2006/relationships/tags" Target="../tags/tag1219.xml"/><Relationship Id="rId17" Type="http://schemas.openxmlformats.org/officeDocument/2006/relationships/tags" Target="../tags/tag1224.xml"/><Relationship Id="rId25" Type="http://schemas.openxmlformats.org/officeDocument/2006/relationships/tags" Target="../tags/tag1232.xml"/><Relationship Id="rId33" Type="http://schemas.openxmlformats.org/officeDocument/2006/relationships/slide" Target="slide121.xml"/><Relationship Id="rId38" Type="http://schemas.openxmlformats.org/officeDocument/2006/relationships/slide" Target="slide111.xml"/><Relationship Id="rId2" Type="http://schemas.openxmlformats.org/officeDocument/2006/relationships/tags" Target="../tags/tag1209.xml"/><Relationship Id="rId16" Type="http://schemas.openxmlformats.org/officeDocument/2006/relationships/tags" Target="../tags/tag1223.xml"/><Relationship Id="rId20" Type="http://schemas.openxmlformats.org/officeDocument/2006/relationships/tags" Target="../tags/tag1227.xml"/><Relationship Id="rId29" Type="http://schemas.openxmlformats.org/officeDocument/2006/relationships/tags" Target="../tags/tag1236.xml"/><Relationship Id="rId1" Type="http://schemas.openxmlformats.org/officeDocument/2006/relationships/tags" Target="../tags/tag1208.xml"/><Relationship Id="rId6" Type="http://schemas.openxmlformats.org/officeDocument/2006/relationships/tags" Target="../tags/tag1213.xml"/><Relationship Id="rId11" Type="http://schemas.openxmlformats.org/officeDocument/2006/relationships/tags" Target="../tags/tag1218.xml"/><Relationship Id="rId24" Type="http://schemas.openxmlformats.org/officeDocument/2006/relationships/tags" Target="../tags/tag1231.xml"/><Relationship Id="rId32" Type="http://schemas.openxmlformats.org/officeDocument/2006/relationships/slide" Target="slide123.xml"/><Relationship Id="rId37" Type="http://schemas.openxmlformats.org/officeDocument/2006/relationships/slide" Target="slide113.xml"/><Relationship Id="rId40" Type="http://schemas.openxmlformats.org/officeDocument/2006/relationships/slide" Target="slide97.xml"/><Relationship Id="rId5" Type="http://schemas.openxmlformats.org/officeDocument/2006/relationships/tags" Target="../tags/tag1212.xml"/><Relationship Id="rId15" Type="http://schemas.openxmlformats.org/officeDocument/2006/relationships/tags" Target="../tags/tag1222.xml"/><Relationship Id="rId23" Type="http://schemas.openxmlformats.org/officeDocument/2006/relationships/tags" Target="../tags/tag1230.xml"/><Relationship Id="rId28" Type="http://schemas.openxmlformats.org/officeDocument/2006/relationships/tags" Target="../tags/tag1235.xml"/><Relationship Id="rId36" Type="http://schemas.openxmlformats.org/officeDocument/2006/relationships/slide" Target="slide115.xml"/><Relationship Id="rId10" Type="http://schemas.openxmlformats.org/officeDocument/2006/relationships/tags" Target="../tags/tag1217.xml"/><Relationship Id="rId19" Type="http://schemas.openxmlformats.org/officeDocument/2006/relationships/tags" Target="../tags/tag1226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211.xml"/><Relationship Id="rId9" Type="http://schemas.openxmlformats.org/officeDocument/2006/relationships/tags" Target="../tags/tag1216.xml"/><Relationship Id="rId14" Type="http://schemas.openxmlformats.org/officeDocument/2006/relationships/tags" Target="../tags/tag1221.xml"/><Relationship Id="rId22" Type="http://schemas.openxmlformats.org/officeDocument/2006/relationships/tags" Target="../tags/tag1229.xml"/><Relationship Id="rId27" Type="http://schemas.openxmlformats.org/officeDocument/2006/relationships/tags" Target="../tags/tag1234.xml"/><Relationship Id="rId30" Type="http://schemas.openxmlformats.org/officeDocument/2006/relationships/tags" Target="../tags/tag1237.xml"/><Relationship Id="rId35" Type="http://schemas.openxmlformats.org/officeDocument/2006/relationships/slide" Target="slide117.xml"/><Relationship Id="rId8" Type="http://schemas.openxmlformats.org/officeDocument/2006/relationships/tags" Target="../tags/tag1215.xml"/><Relationship Id="rId3" Type="http://schemas.openxmlformats.org/officeDocument/2006/relationships/tags" Target="../tags/tag1210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13" Type="http://schemas.openxmlformats.org/officeDocument/2006/relationships/tags" Target="../tags/tag1250.xml"/><Relationship Id="rId18" Type="http://schemas.openxmlformats.org/officeDocument/2006/relationships/tags" Target="../tags/tag1255.xml"/><Relationship Id="rId26" Type="http://schemas.openxmlformats.org/officeDocument/2006/relationships/tags" Target="../tags/tag1263.xml"/><Relationship Id="rId39" Type="http://schemas.openxmlformats.org/officeDocument/2006/relationships/slide" Target="slide99.xml"/><Relationship Id="rId21" Type="http://schemas.openxmlformats.org/officeDocument/2006/relationships/tags" Target="../tags/tag1258.xml"/><Relationship Id="rId34" Type="http://schemas.openxmlformats.org/officeDocument/2006/relationships/slide" Target="slide119.xml"/><Relationship Id="rId7" Type="http://schemas.openxmlformats.org/officeDocument/2006/relationships/tags" Target="../tags/tag1244.xml"/><Relationship Id="rId12" Type="http://schemas.openxmlformats.org/officeDocument/2006/relationships/tags" Target="../tags/tag1249.xml"/><Relationship Id="rId17" Type="http://schemas.openxmlformats.org/officeDocument/2006/relationships/tags" Target="../tags/tag1254.xml"/><Relationship Id="rId25" Type="http://schemas.openxmlformats.org/officeDocument/2006/relationships/tags" Target="../tags/tag1262.xml"/><Relationship Id="rId33" Type="http://schemas.openxmlformats.org/officeDocument/2006/relationships/slide" Target="slide121.xml"/><Relationship Id="rId38" Type="http://schemas.openxmlformats.org/officeDocument/2006/relationships/slide" Target="slide111.xml"/><Relationship Id="rId2" Type="http://schemas.openxmlformats.org/officeDocument/2006/relationships/tags" Target="../tags/tag1239.xml"/><Relationship Id="rId16" Type="http://schemas.openxmlformats.org/officeDocument/2006/relationships/tags" Target="../tags/tag1253.xml"/><Relationship Id="rId20" Type="http://schemas.openxmlformats.org/officeDocument/2006/relationships/tags" Target="../tags/tag1257.xml"/><Relationship Id="rId29" Type="http://schemas.openxmlformats.org/officeDocument/2006/relationships/tags" Target="../tags/tag1266.xml"/><Relationship Id="rId1" Type="http://schemas.openxmlformats.org/officeDocument/2006/relationships/tags" Target="../tags/tag1238.xml"/><Relationship Id="rId6" Type="http://schemas.openxmlformats.org/officeDocument/2006/relationships/tags" Target="../tags/tag1243.xml"/><Relationship Id="rId11" Type="http://schemas.openxmlformats.org/officeDocument/2006/relationships/tags" Target="../tags/tag1248.xml"/><Relationship Id="rId24" Type="http://schemas.openxmlformats.org/officeDocument/2006/relationships/tags" Target="../tags/tag1261.xml"/><Relationship Id="rId32" Type="http://schemas.openxmlformats.org/officeDocument/2006/relationships/slide" Target="slide123.xml"/><Relationship Id="rId37" Type="http://schemas.openxmlformats.org/officeDocument/2006/relationships/slide" Target="slide113.xml"/><Relationship Id="rId40" Type="http://schemas.openxmlformats.org/officeDocument/2006/relationships/slide" Target="slide97.xml"/><Relationship Id="rId5" Type="http://schemas.openxmlformats.org/officeDocument/2006/relationships/tags" Target="../tags/tag1242.xml"/><Relationship Id="rId15" Type="http://schemas.openxmlformats.org/officeDocument/2006/relationships/tags" Target="../tags/tag1252.xml"/><Relationship Id="rId23" Type="http://schemas.openxmlformats.org/officeDocument/2006/relationships/tags" Target="../tags/tag1260.xml"/><Relationship Id="rId28" Type="http://schemas.openxmlformats.org/officeDocument/2006/relationships/tags" Target="../tags/tag1265.xml"/><Relationship Id="rId36" Type="http://schemas.openxmlformats.org/officeDocument/2006/relationships/slide" Target="slide115.xml"/><Relationship Id="rId10" Type="http://schemas.openxmlformats.org/officeDocument/2006/relationships/tags" Target="../tags/tag1247.xml"/><Relationship Id="rId19" Type="http://schemas.openxmlformats.org/officeDocument/2006/relationships/tags" Target="../tags/tag1256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241.xml"/><Relationship Id="rId9" Type="http://schemas.openxmlformats.org/officeDocument/2006/relationships/tags" Target="../tags/tag1246.xml"/><Relationship Id="rId14" Type="http://schemas.openxmlformats.org/officeDocument/2006/relationships/tags" Target="../tags/tag1251.xml"/><Relationship Id="rId22" Type="http://schemas.openxmlformats.org/officeDocument/2006/relationships/tags" Target="../tags/tag1259.xml"/><Relationship Id="rId27" Type="http://schemas.openxmlformats.org/officeDocument/2006/relationships/tags" Target="../tags/tag1264.xml"/><Relationship Id="rId30" Type="http://schemas.openxmlformats.org/officeDocument/2006/relationships/tags" Target="../tags/tag1267.xml"/><Relationship Id="rId35" Type="http://schemas.openxmlformats.org/officeDocument/2006/relationships/slide" Target="slide117.xml"/><Relationship Id="rId8" Type="http://schemas.openxmlformats.org/officeDocument/2006/relationships/tags" Target="../tags/tag1245.xml"/><Relationship Id="rId3" Type="http://schemas.openxmlformats.org/officeDocument/2006/relationships/tags" Target="../tags/tag1240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13" Type="http://schemas.openxmlformats.org/officeDocument/2006/relationships/tags" Target="../tags/tag1280.xml"/><Relationship Id="rId18" Type="http://schemas.openxmlformats.org/officeDocument/2006/relationships/tags" Target="../tags/tag1285.xml"/><Relationship Id="rId26" Type="http://schemas.openxmlformats.org/officeDocument/2006/relationships/tags" Target="../tags/tag1293.xml"/><Relationship Id="rId39" Type="http://schemas.openxmlformats.org/officeDocument/2006/relationships/slide" Target="slide99.xml"/><Relationship Id="rId21" Type="http://schemas.openxmlformats.org/officeDocument/2006/relationships/tags" Target="../tags/tag1288.xml"/><Relationship Id="rId34" Type="http://schemas.openxmlformats.org/officeDocument/2006/relationships/slide" Target="slide119.xml"/><Relationship Id="rId7" Type="http://schemas.openxmlformats.org/officeDocument/2006/relationships/tags" Target="../tags/tag1274.xml"/><Relationship Id="rId12" Type="http://schemas.openxmlformats.org/officeDocument/2006/relationships/tags" Target="../tags/tag1279.xml"/><Relationship Id="rId17" Type="http://schemas.openxmlformats.org/officeDocument/2006/relationships/tags" Target="../tags/tag1284.xml"/><Relationship Id="rId25" Type="http://schemas.openxmlformats.org/officeDocument/2006/relationships/tags" Target="../tags/tag1292.xml"/><Relationship Id="rId33" Type="http://schemas.openxmlformats.org/officeDocument/2006/relationships/slide" Target="slide121.xml"/><Relationship Id="rId38" Type="http://schemas.openxmlformats.org/officeDocument/2006/relationships/slide" Target="slide111.xml"/><Relationship Id="rId2" Type="http://schemas.openxmlformats.org/officeDocument/2006/relationships/tags" Target="../tags/tag1269.xml"/><Relationship Id="rId16" Type="http://schemas.openxmlformats.org/officeDocument/2006/relationships/tags" Target="../tags/tag1283.xml"/><Relationship Id="rId20" Type="http://schemas.openxmlformats.org/officeDocument/2006/relationships/tags" Target="../tags/tag1287.xml"/><Relationship Id="rId29" Type="http://schemas.openxmlformats.org/officeDocument/2006/relationships/tags" Target="../tags/tag1296.xml"/><Relationship Id="rId1" Type="http://schemas.openxmlformats.org/officeDocument/2006/relationships/tags" Target="../tags/tag1268.xml"/><Relationship Id="rId6" Type="http://schemas.openxmlformats.org/officeDocument/2006/relationships/tags" Target="../tags/tag1273.xml"/><Relationship Id="rId11" Type="http://schemas.openxmlformats.org/officeDocument/2006/relationships/tags" Target="../tags/tag1278.xml"/><Relationship Id="rId24" Type="http://schemas.openxmlformats.org/officeDocument/2006/relationships/tags" Target="../tags/tag1291.xml"/><Relationship Id="rId32" Type="http://schemas.openxmlformats.org/officeDocument/2006/relationships/slide" Target="slide123.xml"/><Relationship Id="rId37" Type="http://schemas.openxmlformats.org/officeDocument/2006/relationships/slide" Target="slide113.xml"/><Relationship Id="rId40" Type="http://schemas.openxmlformats.org/officeDocument/2006/relationships/slide" Target="slide97.xml"/><Relationship Id="rId5" Type="http://schemas.openxmlformats.org/officeDocument/2006/relationships/tags" Target="../tags/tag1272.xml"/><Relationship Id="rId15" Type="http://schemas.openxmlformats.org/officeDocument/2006/relationships/tags" Target="../tags/tag1282.xml"/><Relationship Id="rId23" Type="http://schemas.openxmlformats.org/officeDocument/2006/relationships/tags" Target="../tags/tag1290.xml"/><Relationship Id="rId28" Type="http://schemas.openxmlformats.org/officeDocument/2006/relationships/tags" Target="../tags/tag1295.xml"/><Relationship Id="rId36" Type="http://schemas.openxmlformats.org/officeDocument/2006/relationships/slide" Target="slide115.xml"/><Relationship Id="rId10" Type="http://schemas.openxmlformats.org/officeDocument/2006/relationships/tags" Target="../tags/tag1277.xml"/><Relationship Id="rId19" Type="http://schemas.openxmlformats.org/officeDocument/2006/relationships/tags" Target="../tags/tag1286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271.xml"/><Relationship Id="rId9" Type="http://schemas.openxmlformats.org/officeDocument/2006/relationships/tags" Target="../tags/tag1276.xml"/><Relationship Id="rId14" Type="http://schemas.openxmlformats.org/officeDocument/2006/relationships/tags" Target="../tags/tag1281.xml"/><Relationship Id="rId22" Type="http://schemas.openxmlformats.org/officeDocument/2006/relationships/tags" Target="../tags/tag1289.xml"/><Relationship Id="rId27" Type="http://schemas.openxmlformats.org/officeDocument/2006/relationships/tags" Target="../tags/tag1294.xml"/><Relationship Id="rId30" Type="http://schemas.openxmlformats.org/officeDocument/2006/relationships/tags" Target="../tags/tag1297.xml"/><Relationship Id="rId35" Type="http://schemas.openxmlformats.org/officeDocument/2006/relationships/slide" Target="slide117.xml"/><Relationship Id="rId8" Type="http://schemas.openxmlformats.org/officeDocument/2006/relationships/tags" Target="../tags/tag1275.xml"/><Relationship Id="rId3" Type="http://schemas.openxmlformats.org/officeDocument/2006/relationships/tags" Target="../tags/tag127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13" Type="http://schemas.openxmlformats.org/officeDocument/2006/relationships/tags" Target="../tags/tag1310.xml"/><Relationship Id="rId18" Type="http://schemas.openxmlformats.org/officeDocument/2006/relationships/tags" Target="../tags/tag1315.xml"/><Relationship Id="rId26" Type="http://schemas.openxmlformats.org/officeDocument/2006/relationships/tags" Target="../tags/tag1323.xml"/><Relationship Id="rId39" Type="http://schemas.openxmlformats.org/officeDocument/2006/relationships/slide" Target="slide99.xml"/><Relationship Id="rId21" Type="http://schemas.openxmlformats.org/officeDocument/2006/relationships/tags" Target="../tags/tag1318.xml"/><Relationship Id="rId34" Type="http://schemas.openxmlformats.org/officeDocument/2006/relationships/slide" Target="slide119.xml"/><Relationship Id="rId7" Type="http://schemas.openxmlformats.org/officeDocument/2006/relationships/tags" Target="../tags/tag1304.xml"/><Relationship Id="rId12" Type="http://schemas.openxmlformats.org/officeDocument/2006/relationships/tags" Target="../tags/tag1309.xml"/><Relationship Id="rId17" Type="http://schemas.openxmlformats.org/officeDocument/2006/relationships/tags" Target="../tags/tag1314.xml"/><Relationship Id="rId25" Type="http://schemas.openxmlformats.org/officeDocument/2006/relationships/tags" Target="../tags/tag1322.xml"/><Relationship Id="rId33" Type="http://schemas.openxmlformats.org/officeDocument/2006/relationships/slide" Target="slide121.xml"/><Relationship Id="rId38" Type="http://schemas.openxmlformats.org/officeDocument/2006/relationships/slide" Target="slide111.xml"/><Relationship Id="rId2" Type="http://schemas.openxmlformats.org/officeDocument/2006/relationships/tags" Target="../tags/tag1299.xml"/><Relationship Id="rId16" Type="http://schemas.openxmlformats.org/officeDocument/2006/relationships/tags" Target="../tags/tag1313.xml"/><Relationship Id="rId20" Type="http://schemas.openxmlformats.org/officeDocument/2006/relationships/tags" Target="../tags/tag1317.xml"/><Relationship Id="rId29" Type="http://schemas.openxmlformats.org/officeDocument/2006/relationships/tags" Target="../tags/tag1326.xml"/><Relationship Id="rId1" Type="http://schemas.openxmlformats.org/officeDocument/2006/relationships/tags" Target="../tags/tag1298.xml"/><Relationship Id="rId6" Type="http://schemas.openxmlformats.org/officeDocument/2006/relationships/tags" Target="../tags/tag1303.xml"/><Relationship Id="rId11" Type="http://schemas.openxmlformats.org/officeDocument/2006/relationships/tags" Target="../tags/tag1308.xml"/><Relationship Id="rId24" Type="http://schemas.openxmlformats.org/officeDocument/2006/relationships/tags" Target="../tags/tag1321.xml"/><Relationship Id="rId32" Type="http://schemas.openxmlformats.org/officeDocument/2006/relationships/slide" Target="slide123.xml"/><Relationship Id="rId37" Type="http://schemas.openxmlformats.org/officeDocument/2006/relationships/slide" Target="slide113.xml"/><Relationship Id="rId40" Type="http://schemas.openxmlformats.org/officeDocument/2006/relationships/slide" Target="slide97.xml"/><Relationship Id="rId5" Type="http://schemas.openxmlformats.org/officeDocument/2006/relationships/tags" Target="../tags/tag1302.xml"/><Relationship Id="rId15" Type="http://schemas.openxmlformats.org/officeDocument/2006/relationships/tags" Target="../tags/tag1312.xml"/><Relationship Id="rId23" Type="http://schemas.openxmlformats.org/officeDocument/2006/relationships/tags" Target="../tags/tag1320.xml"/><Relationship Id="rId28" Type="http://schemas.openxmlformats.org/officeDocument/2006/relationships/tags" Target="../tags/tag1325.xml"/><Relationship Id="rId36" Type="http://schemas.openxmlformats.org/officeDocument/2006/relationships/slide" Target="slide115.xml"/><Relationship Id="rId10" Type="http://schemas.openxmlformats.org/officeDocument/2006/relationships/tags" Target="../tags/tag1307.xml"/><Relationship Id="rId19" Type="http://schemas.openxmlformats.org/officeDocument/2006/relationships/tags" Target="../tags/tag1316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301.xml"/><Relationship Id="rId9" Type="http://schemas.openxmlformats.org/officeDocument/2006/relationships/tags" Target="../tags/tag1306.xml"/><Relationship Id="rId14" Type="http://schemas.openxmlformats.org/officeDocument/2006/relationships/tags" Target="../tags/tag1311.xml"/><Relationship Id="rId22" Type="http://schemas.openxmlformats.org/officeDocument/2006/relationships/tags" Target="../tags/tag1319.xml"/><Relationship Id="rId27" Type="http://schemas.openxmlformats.org/officeDocument/2006/relationships/tags" Target="../tags/tag1324.xml"/><Relationship Id="rId30" Type="http://schemas.openxmlformats.org/officeDocument/2006/relationships/tags" Target="../tags/tag1327.xml"/><Relationship Id="rId35" Type="http://schemas.openxmlformats.org/officeDocument/2006/relationships/slide" Target="slide117.xml"/><Relationship Id="rId8" Type="http://schemas.openxmlformats.org/officeDocument/2006/relationships/tags" Target="../tags/tag1305.xml"/><Relationship Id="rId3" Type="http://schemas.openxmlformats.org/officeDocument/2006/relationships/tags" Target="../tags/tag1300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13" Type="http://schemas.openxmlformats.org/officeDocument/2006/relationships/tags" Target="../tags/tag1340.xml"/><Relationship Id="rId18" Type="http://schemas.openxmlformats.org/officeDocument/2006/relationships/tags" Target="../tags/tag1345.xml"/><Relationship Id="rId26" Type="http://schemas.openxmlformats.org/officeDocument/2006/relationships/tags" Target="../tags/tag1353.xml"/><Relationship Id="rId39" Type="http://schemas.openxmlformats.org/officeDocument/2006/relationships/slide" Target="slide99.xml"/><Relationship Id="rId21" Type="http://schemas.openxmlformats.org/officeDocument/2006/relationships/tags" Target="../tags/tag1348.xml"/><Relationship Id="rId34" Type="http://schemas.openxmlformats.org/officeDocument/2006/relationships/slide" Target="slide119.xml"/><Relationship Id="rId7" Type="http://schemas.openxmlformats.org/officeDocument/2006/relationships/tags" Target="../tags/tag1334.xml"/><Relationship Id="rId12" Type="http://schemas.openxmlformats.org/officeDocument/2006/relationships/tags" Target="../tags/tag1339.xml"/><Relationship Id="rId17" Type="http://schemas.openxmlformats.org/officeDocument/2006/relationships/tags" Target="../tags/tag1344.xml"/><Relationship Id="rId25" Type="http://schemas.openxmlformats.org/officeDocument/2006/relationships/tags" Target="../tags/tag1352.xml"/><Relationship Id="rId33" Type="http://schemas.openxmlformats.org/officeDocument/2006/relationships/slide" Target="slide121.xml"/><Relationship Id="rId38" Type="http://schemas.openxmlformats.org/officeDocument/2006/relationships/slide" Target="slide111.xml"/><Relationship Id="rId2" Type="http://schemas.openxmlformats.org/officeDocument/2006/relationships/tags" Target="../tags/tag1329.xml"/><Relationship Id="rId16" Type="http://schemas.openxmlformats.org/officeDocument/2006/relationships/tags" Target="../tags/tag1343.xml"/><Relationship Id="rId20" Type="http://schemas.openxmlformats.org/officeDocument/2006/relationships/tags" Target="../tags/tag1347.xml"/><Relationship Id="rId29" Type="http://schemas.openxmlformats.org/officeDocument/2006/relationships/tags" Target="../tags/tag1356.xml"/><Relationship Id="rId1" Type="http://schemas.openxmlformats.org/officeDocument/2006/relationships/tags" Target="../tags/tag1328.xml"/><Relationship Id="rId6" Type="http://schemas.openxmlformats.org/officeDocument/2006/relationships/tags" Target="../tags/tag1333.xml"/><Relationship Id="rId11" Type="http://schemas.openxmlformats.org/officeDocument/2006/relationships/tags" Target="../tags/tag1338.xml"/><Relationship Id="rId24" Type="http://schemas.openxmlformats.org/officeDocument/2006/relationships/tags" Target="../tags/tag1351.xml"/><Relationship Id="rId32" Type="http://schemas.openxmlformats.org/officeDocument/2006/relationships/slide" Target="slide123.xml"/><Relationship Id="rId37" Type="http://schemas.openxmlformats.org/officeDocument/2006/relationships/slide" Target="slide113.xml"/><Relationship Id="rId40" Type="http://schemas.openxmlformats.org/officeDocument/2006/relationships/slide" Target="slide97.xml"/><Relationship Id="rId5" Type="http://schemas.openxmlformats.org/officeDocument/2006/relationships/tags" Target="../tags/tag1332.xml"/><Relationship Id="rId15" Type="http://schemas.openxmlformats.org/officeDocument/2006/relationships/tags" Target="../tags/tag1342.xml"/><Relationship Id="rId23" Type="http://schemas.openxmlformats.org/officeDocument/2006/relationships/tags" Target="../tags/tag1350.xml"/><Relationship Id="rId28" Type="http://schemas.openxmlformats.org/officeDocument/2006/relationships/tags" Target="../tags/tag1355.xml"/><Relationship Id="rId36" Type="http://schemas.openxmlformats.org/officeDocument/2006/relationships/slide" Target="slide115.xml"/><Relationship Id="rId10" Type="http://schemas.openxmlformats.org/officeDocument/2006/relationships/tags" Target="../tags/tag1337.xml"/><Relationship Id="rId19" Type="http://schemas.openxmlformats.org/officeDocument/2006/relationships/tags" Target="../tags/tag1346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331.xml"/><Relationship Id="rId9" Type="http://schemas.openxmlformats.org/officeDocument/2006/relationships/tags" Target="../tags/tag1336.xml"/><Relationship Id="rId14" Type="http://schemas.openxmlformats.org/officeDocument/2006/relationships/tags" Target="../tags/tag1341.xml"/><Relationship Id="rId22" Type="http://schemas.openxmlformats.org/officeDocument/2006/relationships/tags" Target="../tags/tag1349.xml"/><Relationship Id="rId27" Type="http://schemas.openxmlformats.org/officeDocument/2006/relationships/tags" Target="../tags/tag1354.xml"/><Relationship Id="rId30" Type="http://schemas.openxmlformats.org/officeDocument/2006/relationships/tags" Target="../tags/tag1357.xml"/><Relationship Id="rId35" Type="http://schemas.openxmlformats.org/officeDocument/2006/relationships/slide" Target="slide117.xml"/><Relationship Id="rId8" Type="http://schemas.openxmlformats.org/officeDocument/2006/relationships/tags" Target="../tags/tag1335.xml"/><Relationship Id="rId3" Type="http://schemas.openxmlformats.org/officeDocument/2006/relationships/tags" Target="../tags/tag1330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13" Type="http://schemas.openxmlformats.org/officeDocument/2006/relationships/tags" Target="../tags/tag1370.xml"/><Relationship Id="rId18" Type="http://schemas.openxmlformats.org/officeDocument/2006/relationships/tags" Target="../tags/tag1375.xml"/><Relationship Id="rId26" Type="http://schemas.openxmlformats.org/officeDocument/2006/relationships/tags" Target="../tags/tag1383.xml"/><Relationship Id="rId3" Type="http://schemas.openxmlformats.org/officeDocument/2006/relationships/tags" Target="../tags/tag1360.xml"/><Relationship Id="rId21" Type="http://schemas.openxmlformats.org/officeDocument/2006/relationships/tags" Target="../tags/tag1378.xml"/><Relationship Id="rId34" Type="http://schemas.openxmlformats.org/officeDocument/2006/relationships/slide" Target="slide25.xml"/><Relationship Id="rId7" Type="http://schemas.openxmlformats.org/officeDocument/2006/relationships/tags" Target="../tags/tag1364.xml"/><Relationship Id="rId12" Type="http://schemas.openxmlformats.org/officeDocument/2006/relationships/tags" Target="../tags/tag1369.xml"/><Relationship Id="rId17" Type="http://schemas.openxmlformats.org/officeDocument/2006/relationships/tags" Target="../tags/tag1374.xml"/><Relationship Id="rId25" Type="http://schemas.openxmlformats.org/officeDocument/2006/relationships/tags" Target="../tags/tag1382.xml"/><Relationship Id="rId33" Type="http://schemas.openxmlformats.org/officeDocument/2006/relationships/slide" Target="slide55.xml"/><Relationship Id="rId2" Type="http://schemas.openxmlformats.org/officeDocument/2006/relationships/tags" Target="../tags/tag1359.xml"/><Relationship Id="rId16" Type="http://schemas.openxmlformats.org/officeDocument/2006/relationships/tags" Target="../tags/tag1373.xml"/><Relationship Id="rId20" Type="http://schemas.openxmlformats.org/officeDocument/2006/relationships/tags" Target="../tags/tag1377.xml"/><Relationship Id="rId29" Type="http://schemas.openxmlformats.org/officeDocument/2006/relationships/slide" Target="slide185.xml"/><Relationship Id="rId1" Type="http://schemas.openxmlformats.org/officeDocument/2006/relationships/tags" Target="../tags/tag1358.xml"/><Relationship Id="rId6" Type="http://schemas.openxmlformats.org/officeDocument/2006/relationships/tags" Target="../tags/tag1363.xml"/><Relationship Id="rId11" Type="http://schemas.openxmlformats.org/officeDocument/2006/relationships/tags" Target="../tags/tag1368.xml"/><Relationship Id="rId24" Type="http://schemas.openxmlformats.org/officeDocument/2006/relationships/tags" Target="../tags/tag1381.xml"/><Relationship Id="rId32" Type="http://schemas.openxmlformats.org/officeDocument/2006/relationships/slide" Target="slide95.xml"/><Relationship Id="rId5" Type="http://schemas.openxmlformats.org/officeDocument/2006/relationships/tags" Target="../tags/tag1362.xml"/><Relationship Id="rId15" Type="http://schemas.openxmlformats.org/officeDocument/2006/relationships/tags" Target="../tags/tag1372.xml"/><Relationship Id="rId23" Type="http://schemas.openxmlformats.org/officeDocument/2006/relationships/tags" Target="../tags/tag1380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.xml"/><Relationship Id="rId10" Type="http://schemas.openxmlformats.org/officeDocument/2006/relationships/tags" Target="../tags/tag1367.xml"/><Relationship Id="rId19" Type="http://schemas.openxmlformats.org/officeDocument/2006/relationships/tags" Target="../tags/tag1376.xml"/><Relationship Id="rId31" Type="http://schemas.openxmlformats.org/officeDocument/2006/relationships/slide" Target="slide125.xml"/><Relationship Id="rId4" Type="http://schemas.openxmlformats.org/officeDocument/2006/relationships/tags" Target="../tags/tag1361.xml"/><Relationship Id="rId9" Type="http://schemas.openxmlformats.org/officeDocument/2006/relationships/tags" Target="../tags/tag1366.xml"/><Relationship Id="rId14" Type="http://schemas.openxmlformats.org/officeDocument/2006/relationships/tags" Target="../tags/tag1371.xml"/><Relationship Id="rId22" Type="http://schemas.openxmlformats.org/officeDocument/2006/relationships/tags" Target="../tags/tag1379.xml"/><Relationship Id="rId27" Type="http://schemas.openxmlformats.org/officeDocument/2006/relationships/tags" Target="../tags/tag1384.xml"/><Relationship Id="rId30" Type="http://schemas.openxmlformats.org/officeDocument/2006/relationships/slide" Target="slide149.xml"/><Relationship Id="rId35" Type="http://schemas.openxmlformats.org/officeDocument/2006/relationships/slide" Target="slide9.xml"/><Relationship Id="rId8" Type="http://schemas.openxmlformats.org/officeDocument/2006/relationships/tags" Target="../tags/tag1365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tags" Target="../tags/tag1392.xml"/><Relationship Id="rId13" Type="http://schemas.openxmlformats.org/officeDocument/2006/relationships/tags" Target="../tags/tag1397.xml"/><Relationship Id="rId18" Type="http://schemas.openxmlformats.org/officeDocument/2006/relationships/slide" Target="slide131.xml"/><Relationship Id="rId3" Type="http://schemas.openxmlformats.org/officeDocument/2006/relationships/tags" Target="../tags/tag1387.xml"/><Relationship Id="rId7" Type="http://schemas.openxmlformats.org/officeDocument/2006/relationships/tags" Target="../tags/tag1391.xml"/><Relationship Id="rId12" Type="http://schemas.openxmlformats.org/officeDocument/2006/relationships/tags" Target="../tags/tag1396.xml"/><Relationship Id="rId17" Type="http://schemas.openxmlformats.org/officeDocument/2006/relationships/slide" Target="slide141.xml"/><Relationship Id="rId2" Type="http://schemas.openxmlformats.org/officeDocument/2006/relationships/tags" Target="../tags/tag1386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127.xml"/><Relationship Id="rId1" Type="http://schemas.openxmlformats.org/officeDocument/2006/relationships/tags" Target="../tags/tag1385.xml"/><Relationship Id="rId6" Type="http://schemas.openxmlformats.org/officeDocument/2006/relationships/tags" Target="../tags/tag1390.xml"/><Relationship Id="rId11" Type="http://schemas.openxmlformats.org/officeDocument/2006/relationships/tags" Target="../tags/tag1395.xml"/><Relationship Id="rId5" Type="http://schemas.openxmlformats.org/officeDocument/2006/relationships/tags" Target="../tags/tag1389.xml"/><Relationship Id="rId15" Type="http://schemas.openxmlformats.org/officeDocument/2006/relationships/tags" Target="../tags/tag1399.xml"/><Relationship Id="rId10" Type="http://schemas.openxmlformats.org/officeDocument/2006/relationships/tags" Target="../tags/tag1394.xml"/><Relationship Id="rId19" Type="http://schemas.openxmlformats.org/officeDocument/2006/relationships/slide" Target="slide129.xml"/><Relationship Id="rId4" Type="http://schemas.openxmlformats.org/officeDocument/2006/relationships/tags" Target="../tags/tag1388.xml"/><Relationship Id="rId9" Type="http://schemas.openxmlformats.org/officeDocument/2006/relationships/tags" Target="../tags/tag1393.xml"/><Relationship Id="rId14" Type="http://schemas.openxmlformats.org/officeDocument/2006/relationships/tags" Target="../tags/tag1398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tags" Target="../tags/tag1407.xml"/><Relationship Id="rId13" Type="http://schemas.openxmlformats.org/officeDocument/2006/relationships/tags" Target="../tags/tag1412.xml"/><Relationship Id="rId18" Type="http://schemas.openxmlformats.org/officeDocument/2006/relationships/slide" Target="slide131.xml"/><Relationship Id="rId3" Type="http://schemas.openxmlformats.org/officeDocument/2006/relationships/tags" Target="../tags/tag1402.xml"/><Relationship Id="rId7" Type="http://schemas.openxmlformats.org/officeDocument/2006/relationships/tags" Target="../tags/tag1406.xml"/><Relationship Id="rId12" Type="http://schemas.openxmlformats.org/officeDocument/2006/relationships/tags" Target="../tags/tag1411.xml"/><Relationship Id="rId17" Type="http://schemas.openxmlformats.org/officeDocument/2006/relationships/slide" Target="slide141.xml"/><Relationship Id="rId2" Type="http://schemas.openxmlformats.org/officeDocument/2006/relationships/tags" Target="../tags/tag1401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127.xml"/><Relationship Id="rId1" Type="http://schemas.openxmlformats.org/officeDocument/2006/relationships/tags" Target="../tags/tag1400.xml"/><Relationship Id="rId6" Type="http://schemas.openxmlformats.org/officeDocument/2006/relationships/tags" Target="../tags/tag1405.xml"/><Relationship Id="rId11" Type="http://schemas.openxmlformats.org/officeDocument/2006/relationships/tags" Target="../tags/tag1410.xml"/><Relationship Id="rId5" Type="http://schemas.openxmlformats.org/officeDocument/2006/relationships/tags" Target="../tags/tag1404.xml"/><Relationship Id="rId15" Type="http://schemas.openxmlformats.org/officeDocument/2006/relationships/tags" Target="../tags/tag1414.xml"/><Relationship Id="rId10" Type="http://schemas.openxmlformats.org/officeDocument/2006/relationships/tags" Target="../tags/tag1409.xml"/><Relationship Id="rId19" Type="http://schemas.openxmlformats.org/officeDocument/2006/relationships/slide" Target="slide129.xml"/><Relationship Id="rId4" Type="http://schemas.openxmlformats.org/officeDocument/2006/relationships/tags" Target="../tags/tag1403.xml"/><Relationship Id="rId9" Type="http://schemas.openxmlformats.org/officeDocument/2006/relationships/tags" Target="../tags/tag1408.xml"/><Relationship Id="rId14" Type="http://schemas.openxmlformats.org/officeDocument/2006/relationships/tags" Target="../tags/tag1413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28.xml"/><Relationship Id="rId18" Type="http://schemas.openxmlformats.org/officeDocument/2006/relationships/tags" Target="../tags/tag133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118.xml"/><Relationship Id="rId21" Type="http://schemas.openxmlformats.org/officeDocument/2006/relationships/tags" Target="../tags/tag136.xml"/><Relationship Id="rId34" Type="http://schemas.openxmlformats.org/officeDocument/2006/relationships/oleObject" Target="../embeddings/oleObject11.bin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17" Type="http://schemas.openxmlformats.org/officeDocument/2006/relationships/tags" Target="../tags/tag132.xml"/><Relationship Id="rId25" Type="http://schemas.openxmlformats.org/officeDocument/2006/relationships/tags" Target="../tags/tag140.xml"/><Relationship Id="rId33" Type="http://schemas.openxmlformats.org/officeDocument/2006/relationships/slide" Target="slide11.xml"/><Relationship Id="rId2" Type="http://schemas.openxmlformats.org/officeDocument/2006/relationships/tags" Target="../tags/tag117.xml"/><Relationship Id="rId16" Type="http://schemas.openxmlformats.org/officeDocument/2006/relationships/tags" Target="../tags/tag131.xml"/><Relationship Id="rId20" Type="http://schemas.openxmlformats.org/officeDocument/2006/relationships/tags" Target="../tags/tag135.xml"/><Relationship Id="rId29" Type="http://schemas.openxmlformats.org/officeDocument/2006/relationships/slide" Target="slide19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24" Type="http://schemas.openxmlformats.org/officeDocument/2006/relationships/tags" Target="../tags/tag139.xml"/><Relationship Id="rId32" Type="http://schemas.openxmlformats.org/officeDocument/2006/relationships/slide" Target="slide13.xml"/><Relationship Id="rId5" Type="http://schemas.openxmlformats.org/officeDocument/2006/relationships/tags" Target="../tags/tag120.xml"/><Relationship Id="rId15" Type="http://schemas.openxmlformats.org/officeDocument/2006/relationships/tags" Target="../tags/tag130.xml"/><Relationship Id="rId23" Type="http://schemas.openxmlformats.org/officeDocument/2006/relationships/tags" Target="../tags/tag138.xml"/><Relationship Id="rId28" Type="http://schemas.openxmlformats.org/officeDocument/2006/relationships/slide" Target="slide21.xml"/><Relationship Id="rId10" Type="http://schemas.openxmlformats.org/officeDocument/2006/relationships/tags" Target="../tags/tag125.xml"/><Relationship Id="rId19" Type="http://schemas.openxmlformats.org/officeDocument/2006/relationships/tags" Target="../tags/tag134.xml"/><Relationship Id="rId31" Type="http://schemas.openxmlformats.org/officeDocument/2006/relationships/slide" Target="slide15.xml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tags" Target="../tags/tag129.xml"/><Relationship Id="rId22" Type="http://schemas.openxmlformats.org/officeDocument/2006/relationships/tags" Target="../tags/tag137.xml"/><Relationship Id="rId27" Type="http://schemas.openxmlformats.org/officeDocument/2006/relationships/slide" Target="slide23.xml"/><Relationship Id="rId30" Type="http://schemas.openxmlformats.org/officeDocument/2006/relationships/slide" Target="slide17.xml"/><Relationship Id="rId35" Type="http://schemas.openxmlformats.org/officeDocument/2006/relationships/image" Target="../media/image1.emf"/><Relationship Id="rId8" Type="http://schemas.openxmlformats.org/officeDocument/2006/relationships/tags" Target="../tags/tag123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13" Type="http://schemas.openxmlformats.org/officeDocument/2006/relationships/tags" Target="../tags/tag1427.xml"/><Relationship Id="rId18" Type="http://schemas.openxmlformats.org/officeDocument/2006/relationships/tags" Target="../tags/tag1432.xml"/><Relationship Id="rId26" Type="http://schemas.openxmlformats.org/officeDocument/2006/relationships/tags" Target="../tags/tag1440.xml"/><Relationship Id="rId3" Type="http://schemas.openxmlformats.org/officeDocument/2006/relationships/tags" Target="../tags/tag1417.xml"/><Relationship Id="rId21" Type="http://schemas.openxmlformats.org/officeDocument/2006/relationships/tags" Target="../tags/tag1435.xml"/><Relationship Id="rId34" Type="http://schemas.openxmlformats.org/officeDocument/2006/relationships/slide" Target="slide131.xml"/><Relationship Id="rId7" Type="http://schemas.openxmlformats.org/officeDocument/2006/relationships/tags" Target="../tags/tag1421.xml"/><Relationship Id="rId12" Type="http://schemas.openxmlformats.org/officeDocument/2006/relationships/tags" Target="../tags/tag1426.xml"/><Relationship Id="rId17" Type="http://schemas.openxmlformats.org/officeDocument/2006/relationships/tags" Target="../tags/tag1431.xml"/><Relationship Id="rId25" Type="http://schemas.openxmlformats.org/officeDocument/2006/relationships/tags" Target="../tags/tag1439.xml"/><Relationship Id="rId33" Type="http://schemas.openxmlformats.org/officeDocument/2006/relationships/slide" Target="slide133.xml"/><Relationship Id="rId2" Type="http://schemas.openxmlformats.org/officeDocument/2006/relationships/tags" Target="../tags/tag1416.xml"/><Relationship Id="rId16" Type="http://schemas.openxmlformats.org/officeDocument/2006/relationships/tags" Target="../tags/tag1430.xml"/><Relationship Id="rId20" Type="http://schemas.openxmlformats.org/officeDocument/2006/relationships/tags" Target="../tags/tag1434.xml"/><Relationship Id="rId29" Type="http://schemas.openxmlformats.org/officeDocument/2006/relationships/slide" Target="slide141.xml"/><Relationship Id="rId1" Type="http://schemas.openxmlformats.org/officeDocument/2006/relationships/tags" Target="../tags/tag1415.xml"/><Relationship Id="rId6" Type="http://schemas.openxmlformats.org/officeDocument/2006/relationships/tags" Target="../tags/tag1420.xml"/><Relationship Id="rId11" Type="http://schemas.openxmlformats.org/officeDocument/2006/relationships/tags" Target="../tags/tag1425.xml"/><Relationship Id="rId24" Type="http://schemas.openxmlformats.org/officeDocument/2006/relationships/tags" Target="../tags/tag1438.xml"/><Relationship Id="rId32" Type="http://schemas.openxmlformats.org/officeDocument/2006/relationships/slide" Target="slide135.xml"/><Relationship Id="rId5" Type="http://schemas.openxmlformats.org/officeDocument/2006/relationships/tags" Target="../tags/tag1419.xml"/><Relationship Id="rId15" Type="http://schemas.openxmlformats.org/officeDocument/2006/relationships/tags" Target="../tags/tag1429.xml"/><Relationship Id="rId23" Type="http://schemas.openxmlformats.org/officeDocument/2006/relationships/tags" Target="../tags/tag1437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127.xml"/><Relationship Id="rId10" Type="http://schemas.openxmlformats.org/officeDocument/2006/relationships/tags" Target="../tags/tag1424.xml"/><Relationship Id="rId19" Type="http://schemas.openxmlformats.org/officeDocument/2006/relationships/tags" Target="../tags/tag1433.xml"/><Relationship Id="rId31" Type="http://schemas.openxmlformats.org/officeDocument/2006/relationships/slide" Target="slide137.xml"/><Relationship Id="rId4" Type="http://schemas.openxmlformats.org/officeDocument/2006/relationships/tags" Target="../tags/tag1418.xml"/><Relationship Id="rId9" Type="http://schemas.openxmlformats.org/officeDocument/2006/relationships/tags" Target="../tags/tag1423.xml"/><Relationship Id="rId14" Type="http://schemas.openxmlformats.org/officeDocument/2006/relationships/tags" Target="../tags/tag1428.xml"/><Relationship Id="rId22" Type="http://schemas.openxmlformats.org/officeDocument/2006/relationships/tags" Target="../tags/tag1436.xml"/><Relationship Id="rId27" Type="http://schemas.openxmlformats.org/officeDocument/2006/relationships/tags" Target="../tags/tag1441.xml"/><Relationship Id="rId30" Type="http://schemas.openxmlformats.org/officeDocument/2006/relationships/slide" Target="slide139.xml"/><Relationship Id="rId35" Type="http://schemas.openxmlformats.org/officeDocument/2006/relationships/slide" Target="slide129.xml"/><Relationship Id="rId8" Type="http://schemas.openxmlformats.org/officeDocument/2006/relationships/tags" Target="../tags/tag1422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13" Type="http://schemas.openxmlformats.org/officeDocument/2006/relationships/tags" Target="../tags/tag1454.xml"/><Relationship Id="rId18" Type="http://schemas.openxmlformats.org/officeDocument/2006/relationships/tags" Target="../tags/tag1459.xml"/><Relationship Id="rId26" Type="http://schemas.openxmlformats.org/officeDocument/2006/relationships/tags" Target="../tags/tag1467.xml"/><Relationship Id="rId3" Type="http://schemas.openxmlformats.org/officeDocument/2006/relationships/tags" Target="../tags/tag1444.xml"/><Relationship Id="rId21" Type="http://schemas.openxmlformats.org/officeDocument/2006/relationships/tags" Target="../tags/tag1462.xml"/><Relationship Id="rId34" Type="http://schemas.openxmlformats.org/officeDocument/2006/relationships/slide" Target="slide131.xml"/><Relationship Id="rId7" Type="http://schemas.openxmlformats.org/officeDocument/2006/relationships/tags" Target="../tags/tag1448.xml"/><Relationship Id="rId12" Type="http://schemas.openxmlformats.org/officeDocument/2006/relationships/tags" Target="../tags/tag1453.xml"/><Relationship Id="rId17" Type="http://schemas.openxmlformats.org/officeDocument/2006/relationships/tags" Target="../tags/tag1458.xml"/><Relationship Id="rId25" Type="http://schemas.openxmlformats.org/officeDocument/2006/relationships/tags" Target="../tags/tag1466.xml"/><Relationship Id="rId33" Type="http://schemas.openxmlformats.org/officeDocument/2006/relationships/slide" Target="slide133.xml"/><Relationship Id="rId2" Type="http://schemas.openxmlformats.org/officeDocument/2006/relationships/tags" Target="../tags/tag1443.xml"/><Relationship Id="rId16" Type="http://schemas.openxmlformats.org/officeDocument/2006/relationships/tags" Target="../tags/tag1457.xml"/><Relationship Id="rId20" Type="http://schemas.openxmlformats.org/officeDocument/2006/relationships/tags" Target="../tags/tag1461.xml"/><Relationship Id="rId29" Type="http://schemas.openxmlformats.org/officeDocument/2006/relationships/slide" Target="slide141.xml"/><Relationship Id="rId1" Type="http://schemas.openxmlformats.org/officeDocument/2006/relationships/tags" Target="../tags/tag1442.xml"/><Relationship Id="rId6" Type="http://schemas.openxmlformats.org/officeDocument/2006/relationships/tags" Target="../tags/tag1447.xml"/><Relationship Id="rId11" Type="http://schemas.openxmlformats.org/officeDocument/2006/relationships/tags" Target="../tags/tag1452.xml"/><Relationship Id="rId24" Type="http://schemas.openxmlformats.org/officeDocument/2006/relationships/tags" Target="../tags/tag1465.xml"/><Relationship Id="rId32" Type="http://schemas.openxmlformats.org/officeDocument/2006/relationships/slide" Target="slide135.xml"/><Relationship Id="rId5" Type="http://schemas.openxmlformats.org/officeDocument/2006/relationships/tags" Target="../tags/tag1446.xml"/><Relationship Id="rId15" Type="http://schemas.openxmlformats.org/officeDocument/2006/relationships/tags" Target="../tags/tag1456.xml"/><Relationship Id="rId23" Type="http://schemas.openxmlformats.org/officeDocument/2006/relationships/tags" Target="../tags/tag1464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127.xml"/><Relationship Id="rId10" Type="http://schemas.openxmlformats.org/officeDocument/2006/relationships/tags" Target="../tags/tag1451.xml"/><Relationship Id="rId19" Type="http://schemas.openxmlformats.org/officeDocument/2006/relationships/tags" Target="../tags/tag1460.xml"/><Relationship Id="rId31" Type="http://schemas.openxmlformats.org/officeDocument/2006/relationships/slide" Target="slide137.xml"/><Relationship Id="rId4" Type="http://schemas.openxmlformats.org/officeDocument/2006/relationships/tags" Target="../tags/tag1445.xml"/><Relationship Id="rId9" Type="http://schemas.openxmlformats.org/officeDocument/2006/relationships/tags" Target="../tags/tag1450.xml"/><Relationship Id="rId14" Type="http://schemas.openxmlformats.org/officeDocument/2006/relationships/tags" Target="../tags/tag1455.xml"/><Relationship Id="rId22" Type="http://schemas.openxmlformats.org/officeDocument/2006/relationships/tags" Target="../tags/tag1463.xml"/><Relationship Id="rId27" Type="http://schemas.openxmlformats.org/officeDocument/2006/relationships/tags" Target="../tags/tag1468.xml"/><Relationship Id="rId30" Type="http://schemas.openxmlformats.org/officeDocument/2006/relationships/slide" Target="slide139.xml"/><Relationship Id="rId35" Type="http://schemas.openxmlformats.org/officeDocument/2006/relationships/slide" Target="slide129.xml"/><Relationship Id="rId8" Type="http://schemas.openxmlformats.org/officeDocument/2006/relationships/tags" Target="../tags/tag1449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5.xml.rels><?xml version="1.0" encoding="UTF-8" standalone="yes"?>
<Relationships xmlns="http://schemas.openxmlformats.org/package/2006/relationships"><Relationship Id="rId13" Type="http://schemas.openxmlformats.org/officeDocument/2006/relationships/tags" Target="../tags/tag1481.xml"/><Relationship Id="rId18" Type="http://schemas.openxmlformats.org/officeDocument/2006/relationships/tags" Target="../tags/tag1486.xml"/><Relationship Id="rId26" Type="http://schemas.openxmlformats.org/officeDocument/2006/relationships/tags" Target="../tags/tag1494.xml"/><Relationship Id="rId3" Type="http://schemas.openxmlformats.org/officeDocument/2006/relationships/tags" Target="../tags/tag1471.xml"/><Relationship Id="rId21" Type="http://schemas.openxmlformats.org/officeDocument/2006/relationships/tags" Target="../tags/tag1489.xml"/><Relationship Id="rId34" Type="http://schemas.openxmlformats.org/officeDocument/2006/relationships/slide" Target="slide131.xml"/><Relationship Id="rId7" Type="http://schemas.openxmlformats.org/officeDocument/2006/relationships/tags" Target="../tags/tag1475.xml"/><Relationship Id="rId12" Type="http://schemas.openxmlformats.org/officeDocument/2006/relationships/tags" Target="../tags/tag1480.xml"/><Relationship Id="rId17" Type="http://schemas.openxmlformats.org/officeDocument/2006/relationships/tags" Target="../tags/tag1485.xml"/><Relationship Id="rId25" Type="http://schemas.openxmlformats.org/officeDocument/2006/relationships/tags" Target="../tags/tag1493.xml"/><Relationship Id="rId33" Type="http://schemas.openxmlformats.org/officeDocument/2006/relationships/slide" Target="slide133.xml"/><Relationship Id="rId2" Type="http://schemas.openxmlformats.org/officeDocument/2006/relationships/tags" Target="../tags/tag1470.xml"/><Relationship Id="rId16" Type="http://schemas.openxmlformats.org/officeDocument/2006/relationships/tags" Target="../tags/tag1484.xml"/><Relationship Id="rId20" Type="http://schemas.openxmlformats.org/officeDocument/2006/relationships/tags" Target="../tags/tag1488.xml"/><Relationship Id="rId29" Type="http://schemas.openxmlformats.org/officeDocument/2006/relationships/slide" Target="slide141.xml"/><Relationship Id="rId1" Type="http://schemas.openxmlformats.org/officeDocument/2006/relationships/tags" Target="../tags/tag1469.xml"/><Relationship Id="rId6" Type="http://schemas.openxmlformats.org/officeDocument/2006/relationships/tags" Target="../tags/tag1474.xml"/><Relationship Id="rId11" Type="http://schemas.openxmlformats.org/officeDocument/2006/relationships/tags" Target="../tags/tag1479.xml"/><Relationship Id="rId24" Type="http://schemas.openxmlformats.org/officeDocument/2006/relationships/tags" Target="../tags/tag1492.xml"/><Relationship Id="rId32" Type="http://schemas.openxmlformats.org/officeDocument/2006/relationships/slide" Target="slide135.xml"/><Relationship Id="rId5" Type="http://schemas.openxmlformats.org/officeDocument/2006/relationships/tags" Target="../tags/tag1473.xml"/><Relationship Id="rId15" Type="http://schemas.openxmlformats.org/officeDocument/2006/relationships/tags" Target="../tags/tag1483.xml"/><Relationship Id="rId23" Type="http://schemas.openxmlformats.org/officeDocument/2006/relationships/tags" Target="../tags/tag1491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127.xml"/><Relationship Id="rId10" Type="http://schemas.openxmlformats.org/officeDocument/2006/relationships/tags" Target="../tags/tag1478.xml"/><Relationship Id="rId19" Type="http://schemas.openxmlformats.org/officeDocument/2006/relationships/tags" Target="../tags/tag1487.xml"/><Relationship Id="rId31" Type="http://schemas.openxmlformats.org/officeDocument/2006/relationships/slide" Target="slide137.xml"/><Relationship Id="rId4" Type="http://schemas.openxmlformats.org/officeDocument/2006/relationships/tags" Target="../tags/tag1472.xml"/><Relationship Id="rId9" Type="http://schemas.openxmlformats.org/officeDocument/2006/relationships/tags" Target="../tags/tag1477.xml"/><Relationship Id="rId14" Type="http://schemas.openxmlformats.org/officeDocument/2006/relationships/tags" Target="../tags/tag1482.xml"/><Relationship Id="rId22" Type="http://schemas.openxmlformats.org/officeDocument/2006/relationships/tags" Target="../tags/tag1490.xml"/><Relationship Id="rId27" Type="http://schemas.openxmlformats.org/officeDocument/2006/relationships/tags" Target="../tags/tag1495.xml"/><Relationship Id="rId30" Type="http://schemas.openxmlformats.org/officeDocument/2006/relationships/slide" Target="slide139.xml"/><Relationship Id="rId35" Type="http://schemas.openxmlformats.org/officeDocument/2006/relationships/slide" Target="slide129.xml"/><Relationship Id="rId8" Type="http://schemas.openxmlformats.org/officeDocument/2006/relationships/tags" Target="../tags/tag1476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13" Type="http://schemas.openxmlformats.org/officeDocument/2006/relationships/tags" Target="../tags/tag1508.xml"/><Relationship Id="rId18" Type="http://schemas.openxmlformats.org/officeDocument/2006/relationships/tags" Target="../tags/tag1513.xml"/><Relationship Id="rId26" Type="http://schemas.openxmlformats.org/officeDocument/2006/relationships/tags" Target="../tags/tag1521.xml"/><Relationship Id="rId3" Type="http://schemas.openxmlformats.org/officeDocument/2006/relationships/tags" Target="../tags/tag1498.xml"/><Relationship Id="rId21" Type="http://schemas.openxmlformats.org/officeDocument/2006/relationships/tags" Target="../tags/tag1516.xml"/><Relationship Id="rId34" Type="http://schemas.openxmlformats.org/officeDocument/2006/relationships/slide" Target="slide131.xml"/><Relationship Id="rId7" Type="http://schemas.openxmlformats.org/officeDocument/2006/relationships/tags" Target="../tags/tag1502.xml"/><Relationship Id="rId12" Type="http://schemas.openxmlformats.org/officeDocument/2006/relationships/tags" Target="../tags/tag1507.xml"/><Relationship Id="rId17" Type="http://schemas.openxmlformats.org/officeDocument/2006/relationships/tags" Target="../tags/tag1512.xml"/><Relationship Id="rId25" Type="http://schemas.openxmlformats.org/officeDocument/2006/relationships/tags" Target="../tags/tag1520.xml"/><Relationship Id="rId33" Type="http://schemas.openxmlformats.org/officeDocument/2006/relationships/slide" Target="slide133.xml"/><Relationship Id="rId2" Type="http://schemas.openxmlformats.org/officeDocument/2006/relationships/tags" Target="../tags/tag1497.xml"/><Relationship Id="rId16" Type="http://schemas.openxmlformats.org/officeDocument/2006/relationships/tags" Target="../tags/tag1511.xml"/><Relationship Id="rId20" Type="http://schemas.openxmlformats.org/officeDocument/2006/relationships/tags" Target="../tags/tag1515.xml"/><Relationship Id="rId29" Type="http://schemas.openxmlformats.org/officeDocument/2006/relationships/slide" Target="slide141.xml"/><Relationship Id="rId1" Type="http://schemas.openxmlformats.org/officeDocument/2006/relationships/tags" Target="../tags/tag1496.xml"/><Relationship Id="rId6" Type="http://schemas.openxmlformats.org/officeDocument/2006/relationships/tags" Target="../tags/tag1501.xml"/><Relationship Id="rId11" Type="http://schemas.openxmlformats.org/officeDocument/2006/relationships/tags" Target="../tags/tag1506.xml"/><Relationship Id="rId24" Type="http://schemas.openxmlformats.org/officeDocument/2006/relationships/tags" Target="../tags/tag1519.xml"/><Relationship Id="rId32" Type="http://schemas.openxmlformats.org/officeDocument/2006/relationships/slide" Target="slide135.xml"/><Relationship Id="rId5" Type="http://schemas.openxmlformats.org/officeDocument/2006/relationships/tags" Target="../tags/tag1500.xml"/><Relationship Id="rId15" Type="http://schemas.openxmlformats.org/officeDocument/2006/relationships/tags" Target="../tags/tag1510.xml"/><Relationship Id="rId23" Type="http://schemas.openxmlformats.org/officeDocument/2006/relationships/tags" Target="../tags/tag1518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127.xml"/><Relationship Id="rId10" Type="http://schemas.openxmlformats.org/officeDocument/2006/relationships/tags" Target="../tags/tag1505.xml"/><Relationship Id="rId19" Type="http://schemas.openxmlformats.org/officeDocument/2006/relationships/tags" Target="../tags/tag1514.xml"/><Relationship Id="rId31" Type="http://schemas.openxmlformats.org/officeDocument/2006/relationships/slide" Target="slide137.xml"/><Relationship Id="rId4" Type="http://schemas.openxmlformats.org/officeDocument/2006/relationships/tags" Target="../tags/tag1499.xml"/><Relationship Id="rId9" Type="http://schemas.openxmlformats.org/officeDocument/2006/relationships/tags" Target="../tags/tag1504.xml"/><Relationship Id="rId14" Type="http://schemas.openxmlformats.org/officeDocument/2006/relationships/tags" Target="../tags/tag1509.xml"/><Relationship Id="rId22" Type="http://schemas.openxmlformats.org/officeDocument/2006/relationships/tags" Target="../tags/tag1517.xml"/><Relationship Id="rId27" Type="http://schemas.openxmlformats.org/officeDocument/2006/relationships/tags" Target="../tags/tag1522.xml"/><Relationship Id="rId30" Type="http://schemas.openxmlformats.org/officeDocument/2006/relationships/slide" Target="slide139.xml"/><Relationship Id="rId35" Type="http://schemas.openxmlformats.org/officeDocument/2006/relationships/slide" Target="slide129.xml"/><Relationship Id="rId8" Type="http://schemas.openxmlformats.org/officeDocument/2006/relationships/tags" Target="../tags/tag1503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13" Type="http://schemas.openxmlformats.org/officeDocument/2006/relationships/tags" Target="../tags/tag1535.xml"/><Relationship Id="rId18" Type="http://schemas.openxmlformats.org/officeDocument/2006/relationships/tags" Target="../tags/tag1540.xml"/><Relationship Id="rId26" Type="http://schemas.openxmlformats.org/officeDocument/2006/relationships/tags" Target="../tags/tag1548.xml"/><Relationship Id="rId3" Type="http://schemas.openxmlformats.org/officeDocument/2006/relationships/tags" Target="../tags/tag1525.xml"/><Relationship Id="rId21" Type="http://schemas.openxmlformats.org/officeDocument/2006/relationships/tags" Target="../tags/tag1543.xml"/><Relationship Id="rId34" Type="http://schemas.openxmlformats.org/officeDocument/2006/relationships/slide" Target="slide131.xml"/><Relationship Id="rId7" Type="http://schemas.openxmlformats.org/officeDocument/2006/relationships/tags" Target="../tags/tag1529.xml"/><Relationship Id="rId12" Type="http://schemas.openxmlformats.org/officeDocument/2006/relationships/tags" Target="../tags/tag1534.xml"/><Relationship Id="rId17" Type="http://schemas.openxmlformats.org/officeDocument/2006/relationships/tags" Target="../tags/tag1539.xml"/><Relationship Id="rId25" Type="http://schemas.openxmlformats.org/officeDocument/2006/relationships/tags" Target="../tags/tag1547.xml"/><Relationship Id="rId33" Type="http://schemas.openxmlformats.org/officeDocument/2006/relationships/slide" Target="slide133.xml"/><Relationship Id="rId2" Type="http://schemas.openxmlformats.org/officeDocument/2006/relationships/tags" Target="../tags/tag1524.xml"/><Relationship Id="rId16" Type="http://schemas.openxmlformats.org/officeDocument/2006/relationships/tags" Target="../tags/tag1538.xml"/><Relationship Id="rId20" Type="http://schemas.openxmlformats.org/officeDocument/2006/relationships/tags" Target="../tags/tag1542.xml"/><Relationship Id="rId29" Type="http://schemas.openxmlformats.org/officeDocument/2006/relationships/slide" Target="slide141.xml"/><Relationship Id="rId1" Type="http://schemas.openxmlformats.org/officeDocument/2006/relationships/tags" Target="../tags/tag1523.xml"/><Relationship Id="rId6" Type="http://schemas.openxmlformats.org/officeDocument/2006/relationships/tags" Target="../tags/tag1528.xml"/><Relationship Id="rId11" Type="http://schemas.openxmlformats.org/officeDocument/2006/relationships/tags" Target="../tags/tag1533.xml"/><Relationship Id="rId24" Type="http://schemas.openxmlformats.org/officeDocument/2006/relationships/tags" Target="../tags/tag1546.xml"/><Relationship Id="rId32" Type="http://schemas.openxmlformats.org/officeDocument/2006/relationships/slide" Target="slide135.xml"/><Relationship Id="rId5" Type="http://schemas.openxmlformats.org/officeDocument/2006/relationships/tags" Target="../tags/tag1527.xml"/><Relationship Id="rId15" Type="http://schemas.openxmlformats.org/officeDocument/2006/relationships/tags" Target="../tags/tag1537.xml"/><Relationship Id="rId23" Type="http://schemas.openxmlformats.org/officeDocument/2006/relationships/tags" Target="../tags/tag1545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127.xml"/><Relationship Id="rId10" Type="http://schemas.openxmlformats.org/officeDocument/2006/relationships/tags" Target="../tags/tag1532.xml"/><Relationship Id="rId19" Type="http://schemas.openxmlformats.org/officeDocument/2006/relationships/tags" Target="../tags/tag1541.xml"/><Relationship Id="rId31" Type="http://schemas.openxmlformats.org/officeDocument/2006/relationships/slide" Target="slide137.xml"/><Relationship Id="rId4" Type="http://schemas.openxmlformats.org/officeDocument/2006/relationships/tags" Target="../tags/tag1526.xml"/><Relationship Id="rId9" Type="http://schemas.openxmlformats.org/officeDocument/2006/relationships/tags" Target="../tags/tag1531.xml"/><Relationship Id="rId14" Type="http://schemas.openxmlformats.org/officeDocument/2006/relationships/tags" Target="../tags/tag1536.xml"/><Relationship Id="rId22" Type="http://schemas.openxmlformats.org/officeDocument/2006/relationships/tags" Target="../tags/tag1544.xml"/><Relationship Id="rId27" Type="http://schemas.openxmlformats.org/officeDocument/2006/relationships/tags" Target="../tags/tag1549.xml"/><Relationship Id="rId30" Type="http://schemas.openxmlformats.org/officeDocument/2006/relationships/slide" Target="slide139.xml"/><Relationship Id="rId35" Type="http://schemas.openxmlformats.org/officeDocument/2006/relationships/slide" Target="slide129.xml"/><Relationship Id="rId8" Type="http://schemas.openxmlformats.org/officeDocument/2006/relationships/tags" Target="../tags/tag15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1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1.xml.rels><?xml version="1.0" encoding="UTF-8" standalone="yes"?>
<Relationships xmlns="http://schemas.openxmlformats.org/package/2006/relationships"><Relationship Id="rId8" Type="http://schemas.openxmlformats.org/officeDocument/2006/relationships/tags" Target="../tags/tag1557.xml"/><Relationship Id="rId13" Type="http://schemas.openxmlformats.org/officeDocument/2006/relationships/tags" Target="../tags/tag1562.xml"/><Relationship Id="rId18" Type="http://schemas.openxmlformats.org/officeDocument/2006/relationships/tags" Target="../tags/tag1567.xml"/><Relationship Id="rId26" Type="http://schemas.openxmlformats.org/officeDocument/2006/relationships/slide" Target="slide147.xml"/><Relationship Id="rId3" Type="http://schemas.openxmlformats.org/officeDocument/2006/relationships/tags" Target="../tags/tag1552.xml"/><Relationship Id="rId21" Type="http://schemas.openxmlformats.org/officeDocument/2006/relationships/tags" Target="../tags/tag1570.xml"/><Relationship Id="rId7" Type="http://schemas.openxmlformats.org/officeDocument/2006/relationships/tags" Target="../tags/tag1556.xml"/><Relationship Id="rId12" Type="http://schemas.openxmlformats.org/officeDocument/2006/relationships/tags" Target="../tags/tag1561.xml"/><Relationship Id="rId17" Type="http://schemas.openxmlformats.org/officeDocument/2006/relationships/tags" Target="../tags/tag1566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1551.xml"/><Relationship Id="rId16" Type="http://schemas.openxmlformats.org/officeDocument/2006/relationships/tags" Target="../tags/tag1565.xml"/><Relationship Id="rId20" Type="http://schemas.openxmlformats.org/officeDocument/2006/relationships/tags" Target="../tags/tag1569.xml"/><Relationship Id="rId29" Type="http://schemas.openxmlformats.org/officeDocument/2006/relationships/slide" Target="slide141.xml"/><Relationship Id="rId1" Type="http://schemas.openxmlformats.org/officeDocument/2006/relationships/tags" Target="../tags/tag1550.xml"/><Relationship Id="rId6" Type="http://schemas.openxmlformats.org/officeDocument/2006/relationships/tags" Target="../tags/tag1555.xml"/><Relationship Id="rId11" Type="http://schemas.openxmlformats.org/officeDocument/2006/relationships/tags" Target="../tags/tag1560.xml"/><Relationship Id="rId24" Type="http://schemas.openxmlformats.org/officeDocument/2006/relationships/tags" Target="../tags/tag1573.xml"/><Relationship Id="rId32" Type="http://schemas.openxmlformats.org/officeDocument/2006/relationships/slide" Target="slide127.xml"/><Relationship Id="rId5" Type="http://schemas.openxmlformats.org/officeDocument/2006/relationships/tags" Target="../tags/tag1554.xml"/><Relationship Id="rId15" Type="http://schemas.openxmlformats.org/officeDocument/2006/relationships/tags" Target="../tags/tag1564.xml"/><Relationship Id="rId23" Type="http://schemas.openxmlformats.org/officeDocument/2006/relationships/tags" Target="../tags/tag1572.xml"/><Relationship Id="rId28" Type="http://schemas.openxmlformats.org/officeDocument/2006/relationships/slide" Target="slide143.xml"/><Relationship Id="rId10" Type="http://schemas.openxmlformats.org/officeDocument/2006/relationships/tags" Target="../tags/tag1559.xml"/><Relationship Id="rId19" Type="http://schemas.openxmlformats.org/officeDocument/2006/relationships/tags" Target="../tags/tag1568.xml"/><Relationship Id="rId31" Type="http://schemas.openxmlformats.org/officeDocument/2006/relationships/slide" Target="slide129.xml"/><Relationship Id="rId4" Type="http://schemas.openxmlformats.org/officeDocument/2006/relationships/tags" Target="../tags/tag1553.xml"/><Relationship Id="rId9" Type="http://schemas.openxmlformats.org/officeDocument/2006/relationships/tags" Target="../tags/tag1558.xml"/><Relationship Id="rId14" Type="http://schemas.openxmlformats.org/officeDocument/2006/relationships/tags" Target="../tags/tag1563.xml"/><Relationship Id="rId22" Type="http://schemas.openxmlformats.org/officeDocument/2006/relationships/tags" Target="../tags/tag1571.xml"/><Relationship Id="rId27" Type="http://schemas.openxmlformats.org/officeDocument/2006/relationships/slide" Target="slide145.xml"/><Relationship Id="rId30" Type="http://schemas.openxmlformats.org/officeDocument/2006/relationships/slide" Target="slide131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3.xml.rels><?xml version="1.0" encoding="UTF-8" standalone="yes"?>
<Relationships xmlns="http://schemas.openxmlformats.org/package/2006/relationships"><Relationship Id="rId8" Type="http://schemas.openxmlformats.org/officeDocument/2006/relationships/tags" Target="../tags/tag1581.xml"/><Relationship Id="rId13" Type="http://schemas.openxmlformats.org/officeDocument/2006/relationships/tags" Target="../tags/tag1586.xml"/><Relationship Id="rId18" Type="http://schemas.openxmlformats.org/officeDocument/2006/relationships/tags" Target="../tags/tag1591.xml"/><Relationship Id="rId26" Type="http://schemas.openxmlformats.org/officeDocument/2006/relationships/slide" Target="slide147.xml"/><Relationship Id="rId3" Type="http://schemas.openxmlformats.org/officeDocument/2006/relationships/tags" Target="../tags/tag1576.xml"/><Relationship Id="rId21" Type="http://schemas.openxmlformats.org/officeDocument/2006/relationships/tags" Target="../tags/tag1594.xml"/><Relationship Id="rId7" Type="http://schemas.openxmlformats.org/officeDocument/2006/relationships/tags" Target="../tags/tag1580.xml"/><Relationship Id="rId12" Type="http://schemas.openxmlformats.org/officeDocument/2006/relationships/tags" Target="../tags/tag1585.xml"/><Relationship Id="rId17" Type="http://schemas.openxmlformats.org/officeDocument/2006/relationships/tags" Target="../tags/tag1590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1575.xml"/><Relationship Id="rId16" Type="http://schemas.openxmlformats.org/officeDocument/2006/relationships/tags" Target="../tags/tag1589.xml"/><Relationship Id="rId20" Type="http://schemas.openxmlformats.org/officeDocument/2006/relationships/tags" Target="../tags/tag1593.xml"/><Relationship Id="rId29" Type="http://schemas.openxmlformats.org/officeDocument/2006/relationships/slide" Target="slide141.xml"/><Relationship Id="rId1" Type="http://schemas.openxmlformats.org/officeDocument/2006/relationships/tags" Target="../tags/tag1574.xml"/><Relationship Id="rId6" Type="http://schemas.openxmlformats.org/officeDocument/2006/relationships/tags" Target="../tags/tag1579.xml"/><Relationship Id="rId11" Type="http://schemas.openxmlformats.org/officeDocument/2006/relationships/tags" Target="../tags/tag1584.xml"/><Relationship Id="rId24" Type="http://schemas.openxmlformats.org/officeDocument/2006/relationships/tags" Target="../tags/tag1597.xml"/><Relationship Id="rId32" Type="http://schemas.openxmlformats.org/officeDocument/2006/relationships/slide" Target="slide127.xml"/><Relationship Id="rId5" Type="http://schemas.openxmlformats.org/officeDocument/2006/relationships/tags" Target="../tags/tag1578.xml"/><Relationship Id="rId15" Type="http://schemas.openxmlformats.org/officeDocument/2006/relationships/tags" Target="../tags/tag1588.xml"/><Relationship Id="rId23" Type="http://schemas.openxmlformats.org/officeDocument/2006/relationships/tags" Target="../tags/tag1596.xml"/><Relationship Id="rId28" Type="http://schemas.openxmlformats.org/officeDocument/2006/relationships/slide" Target="slide143.xml"/><Relationship Id="rId10" Type="http://schemas.openxmlformats.org/officeDocument/2006/relationships/tags" Target="../tags/tag1583.xml"/><Relationship Id="rId19" Type="http://schemas.openxmlformats.org/officeDocument/2006/relationships/tags" Target="../tags/tag1592.xml"/><Relationship Id="rId31" Type="http://schemas.openxmlformats.org/officeDocument/2006/relationships/slide" Target="slide129.xml"/><Relationship Id="rId4" Type="http://schemas.openxmlformats.org/officeDocument/2006/relationships/tags" Target="../tags/tag1577.xml"/><Relationship Id="rId9" Type="http://schemas.openxmlformats.org/officeDocument/2006/relationships/tags" Target="../tags/tag1582.xml"/><Relationship Id="rId14" Type="http://schemas.openxmlformats.org/officeDocument/2006/relationships/tags" Target="../tags/tag1587.xml"/><Relationship Id="rId22" Type="http://schemas.openxmlformats.org/officeDocument/2006/relationships/tags" Target="../tags/tag1595.xml"/><Relationship Id="rId27" Type="http://schemas.openxmlformats.org/officeDocument/2006/relationships/slide" Target="slide145.xml"/><Relationship Id="rId30" Type="http://schemas.openxmlformats.org/officeDocument/2006/relationships/slide" Target="slide131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5.xml.rels><?xml version="1.0" encoding="UTF-8" standalone="yes"?>
<Relationships xmlns="http://schemas.openxmlformats.org/package/2006/relationships"><Relationship Id="rId8" Type="http://schemas.openxmlformats.org/officeDocument/2006/relationships/tags" Target="../tags/tag1605.xml"/><Relationship Id="rId13" Type="http://schemas.openxmlformats.org/officeDocument/2006/relationships/tags" Target="../tags/tag1610.xml"/><Relationship Id="rId18" Type="http://schemas.openxmlformats.org/officeDocument/2006/relationships/tags" Target="../tags/tag1615.xml"/><Relationship Id="rId26" Type="http://schemas.openxmlformats.org/officeDocument/2006/relationships/slide" Target="slide147.xml"/><Relationship Id="rId3" Type="http://schemas.openxmlformats.org/officeDocument/2006/relationships/tags" Target="../tags/tag1600.xml"/><Relationship Id="rId21" Type="http://schemas.openxmlformats.org/officeDocument/2006/relationships/tags" Target="../tags/tag1618.xml"/><Relationship Id="rId7" Type="http://schemas.openxmlformats.org/officeDocument/2006/relationships/tags" Target="../tags/tag1604.xml"/><Relationship Id="rId12" Type="http://schemas.openxmlformats.org/officeDocument/2006/relationships/tags" Target="../tags/tag1609.xml"/><Relationship Id="rId17" Type="http://schemas.openxmlformats.org/officeDocument/2006/relationships/tags" Target="../tags/tag1614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1599.xml"/><Relationship Id="rId16" Type="http://schemas.openxmlformats.org/officeDocument/2006/relationships/tags" Target="../tags/tag1613.xml"/><Relationship Id="rId20" Type="http://schemas.openxmlformats.org/officeDocument/2006/relationships/tags" Target="../tags/tag1617.xml"/><Relationship Id="rId29" Type="http://schemas.openxmlformats.org/officeDocument/2006/relationships/slide" Target="slide141.xml"/><Relationship Id="rId1" Type="http://schemas.openxmlformats.org/officeDocument/2006/relationships/tags" Target="../tags/tag1598.xml"/><Relationship Id="rId6" Type="http://schemas.openxmlformats.org/officeDocument/2006/relationships/tags" Target="../tags/tag1603.xml"/><Relationship Id="rId11" Type="http://schemas.openxmlformats.org/officeDocument/2006/relationships/tags" Target="../tags/tag1608.xml"/><Relationship Id="rId24" Type="http://schemas.openxmlformats.org/officeDocument/2006/relationships/tags" Target="../tags/tag1621.xml"/><Relationship Id="rId32" Type="http://schemas.openxmlformats.org/officeDocument/2006/relationships/slide" Target="slide127.xml"/><Relationship Id="rId5" Type="http://schemas.openxmlformats.org/officeDocument/2006/relationships/tags" Target="../tags/tag1602.xml"/><Relationship Id="rId15" Type="http://schemas.openxmlformats.org/officeDocument/2006/relationships/tags" Target="../tags/tag1612.xml"/><Relationship Id="rId23" Type="http://schemas.openxmlformats.org/officeDocument/2006/relationships/tags" Target="../tags/tag1620.xml"/><Relationship Id="rId28" Type="http://schemas.openxmlformats.org/officeDocument/2006/relationships/slide" Target="slide143.xml"/><Relationship Id="rId10" Type="http://schemas.openxmlformats.org/officeDocument/2006/relationships/tags" Target="../tags/tag1607.xml"/><Relationship Id="rId19" Type="http://schemas.openxmlformats.org/officeDocument/2006/relationships/tags" Target="../tags/tag1616.xml"/><Relationship Id="rId31" Type="http://schemas.openxmlformats.org/officeDocument/2006/relationships/slide" Target="slide129.xml"/><Relationship Id="rId4" Type="http://schemas.openxmlformats.org/officeDocument/2006/relationships/tags" Target="../tags/tag1601.xml"/><Relationship Id="rId9" Type="http://schemas.openxmlformats.org/officeDocument/2006/relationships/tags" Target="../tags/tag1606.xml"/><Relationship Id="rId14" Type="http://schemas.openxmlformats.org/officeDocument/2006/relationships/tags" Target="../tags/tag1611.xml"/><Relationship Id="rId22" Type="http://schemas.openxmlformats.org/officeDocument/2006/relationships/tags" Target="../tags/tag1619.xml"/><Relationship Id="rId27" Type="http://schemas.openxmlformats.org/officeDocument/2006/relationships/slide" Target="slide145.xml"/><Relationship Id="rId30" Type="http://schemas.openxmlformats.org/officeDocument/2006/relationships/slide" Target="slide131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7.xml.rels><?xml version="1.0" encoding="UTF-8" standalone="yes"?>
<Relationships xmlns="http://schemas.openxmlformats.org/package/2006/relationships"><Relationship Id="rId8" Type="http://schemas.openxmlformats.org/officeDocument/2006/relationships/tags" Target="../tags/tag1629.xml"/><Relationship Id="rId13" Type="http://schemas.openxmlformats.org/officeDocument/2006/relationships/tags" Target="../tags/tag1634.xml"/><Relationship Id="rId18" Type="http://schemas.openxmlformats.org/officeDocument/2006/relationships/tags" Target="../tags/tag1639.xml"/><Relationship Id="rId26" Type="http://schemas.openxmlformats.org/officeDocument/2006/relationships/slide" Target="slide147.xml"/><Relationship Id="rId3" Type="http://schemas.openxmlformats.org/officeDocument/2006/relationships/tags" Target="../tags/tag1624.xml"/><Relationship Id="rId21" Type="http://schemas.openxmlformats.org/officeDocument/2006/relationships/tags" Target="../tags/tag1642.xml"/><Relationship Id="rId7" Type="http://schemas.openxmlformats.org/officeDocument/2006/relationships/tags" Target="../tags/tag1628.xml"/><Relationship Id="rId12" Type="http://schemas.openxmlformats.org/officeDocument/2006/relationships/tags" Target="../tags/tag1633.xml"/><Relationship Id="rId17" Type="http://schemas.openxmlformats.org/officeDocument/2006/relationships/tags" Target="../tags/tag1638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1623.xml"/><Relationship Id="rId16" Type="http://schemas.openxmlformats.org/officeDocument/2006/relationships/tags" Target="../tags/tag1637.xml"/><Relationship Id="rId20" Type="http://schemas.openxmlformats.org/officeDocument/2006/relationships/tags" Target="../tags/tag1641.xml"/><Relationship Id="rId29" Type="http://schemas.openxmlformats.org/officeDocument/2006/relationships/slide" Target="slide141.xml"/><Relationship Id="rId1" Type="http://schemas.openxmlformats.org/officeDocument/2006/relationships/tags" Target="../tags/tag1622.xml"/><Relationship Id="rId6" Type="http://schemas.openxmlformats.org/officeDocument/2006/relationships/tags" Target="../tags/tag1627.xml"/><Relationship Id="rId11" Type="http://schemas.openxmlformats.org/officeDocument/2006/relationships/tags" Target="../tags/tag1632.xml"/><Relationship Id="rId24" Type="http://schemas.openxmlformats.org/officeDocument/2006/relationships/tags" Target="../tags/tag1645.xml"/><Relationship Id="rId32" Type="http://schemas.openxmlformats.org/officeDocument/2006/relationships/slide" Target="slide127.xml"/><Relationship Id="rId5" Type="http://schemas.openxmlformats.org/officeDocument/2006/relationships/tags" Target="../tags/tag1626.xml"/><Relationship Id="rId15" Type="http://schemas.openxmlformats.org/officeDocument/2006/relationships/tags" Target="../tags/tag1636.xml"/><Relationship Id="rId23" Type="http://schemas.openxmlformats.org/officeDocument/2006/relationships/tags" Target="../tags/tag1644.xml"/><Relationship Id="rId28" Type="http://schemas.openxmlformats.org/officeDocument/2006/relationships/slide" Target="slide143.xml"/><Relationship Id="rId10" Type="http://schemas.openxmlformats.org/officeDocument/2006/relationships/tags" Target="../tags/tag1631.xml"/><Relationship Id="rId19" Type="http://schemas.openxmlformats.org/officeDocument/2006/relationships/tags" Target="../tags/tag1640.xml"/><Relationship Id="rId31" Type="http://schemas.openxmlformats.org/officeDocument/2006/relationships/slide" Target="slide129.xml"/><Relationship Id="rId4" Type="http://schemas.openxmlformats.org/officeDocument/2006/relationships/tags" Target="../tags/tag1625.xml"/><Relationship Id="rId9" Type="http://schemas.openxmlformats.org/officeDocument/2006/relationships/tags" Target="../tags/tag1630.xml"/><Relationship Id="rId14" Type="http://schemas.openxmlformats.org/officeDocument/2006/relationships/tags" Target="../tags/tag1635.xml"/><Relationship Id="rId22" Type="http://schemas.openxmlformats.org/officeDocument/2006/relationships/tags" Target="../tags/tag1643.xml"/><Relationship Id="rId27" Type="http://schemas.openxmlformats.org/officeDocument/2006/relationships/slide" Target="slide145.xml"/><Relationship Id="rId30" Type="http://schemas.openxmlformats.org/officeDocument/2006/relationships/slide" Target="slide131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9.xml.rels><?xml version="1.0" encoding="UTF-8" standalone="yes"?>
<Relationships xmlns="http://schemas.openxmlformats.org/package/2006/relationships"><Relationship Id="rId13" Type="http://schemas.openxmlformats.org/officeDocument/2006/relationships/tags" Target="../tags/tag1658.xml"/><Relationship Id="rId18" Type="http://schemas.openxmlformats.org/officeDocument/2006/relationships/tags" Target="../tags/tag1663.xml"/><Relationship Id="rId26" Type="http://schemas.openxmlformats.org/officeDocument/2006/relationships/tags" Target="../tags/tag1671.xml"/><Relationship Id="rId3" Type="http://schemas.openxmlformats.org/officeDocument/2006/relationships/tags" Target="../tags/tag1648.xml"/><Relationship Id="rId21" Type="http://schemas.openxmlformats.org/officeDocument/2006/relationships/tags" Target="../tags/tag1666.xml"/><Relationship Id="rId34" Type="http://schemas.openxmlformats.org/officeDocument/2006/relationships/slide" Target="slide25.xml"/><Relationship Id="rId7" Type="http://schemas.openxmlformats.org/officeDocument/2006/relationships/tags" Target="../tags/tag1652.xml"/><Relationship Id="rId12" Type="http://schemas.openxmlformats.org/officeDocument/2006/relationships/tags" Target="../tags/tag1657.xml"/><Relationship Id="rId17" Type="http://schemas.openxmlformats.org/officeDocument/2006/relationships/tags" Target="../tags/tag1662.xml"/><Relationship Id="rId25" Type="http://schemas.openxmlformats.org/officeDocument/2006/relationships/tags" Target="../tags/tag1670.xml"/><Relationship Id="rId33" Type="http://schemas.openxmlformats.org/officeDocument/2006/relationships/slide" Target="slide55.xml"/><Relationship Id="rId2" Type="http://schemas.openxmlformats.org/officeDocument/2006/relationships/tags" Target="../tags/tag1647.xml"/><Relationship Id="rId16" Type="http://schemas.openxmlformats.org/officeDocument/2006/relationships/tags" Target="../tags/tag1661.xml"/><Relationship Id="rId20" Type="http://schemas.openxmlformats.org/officeDocument/2006/relationships/tags" Target="../tags/tag1665.xml"/><Relationship Id="rId29" Type="http://schemas.openxmlformats.org/officeDocument/2006/relationships/slide" Target="slide185.xml"/><Relationship Id="rId1" Type="http://schemas.openxmlformats.org/officeDocument/2006/relationships/tags" Target="../tags/tag1646.xml"/><Relationship Id="rId6" Type="http://schemas.openxmlformats.org/officeDocument/2006/relationships/tags" Target="../tags/tag1651.xml"/><Relationship Id="rId11" Type="http://schemas.openxmlformats.org/officeDocument/2006/relationships/tags" Target="../tags/tag1656.xml"/><Relationship Id="rId24" Type="http://schemas.openxmlformats.org/officeDocument/2006/relationships/tags" Target="../tags/tag1669.xml"/><Relationship Id="rId32" Type="http://schemas.openxmlformats.org/officeDocument/2006/relationships/slide" Target="slide95.xml"/><Relationship Id="rId5" Type="http://schemas.openxmlformats.org/officeDocument/2006/relationships/tags" Target="../tags/tag1650.xml"/><Relationship Id="rId15" Type="http://schemas.openxmlformats.org/officeDocument/2006/relationships/tags" Target="../tags/tag1660.xml"/><Relationship Id="rId23" Type="http://schemas.openxmlformats.org/officeDocument/2006/relationships/tags" Target="../tags/tag1668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.xml"/><Relationship Id="rId10" Type="http://schemas.openxmlformats.org/officeDocument/2006/relationships/tags" Target="../tags/tag1655.xml"/><Relationship Id="rId19" Type="http://schemas.openxmlformats.org/officeDocument/2006/relationships/tags" Target="../tags/tag1664.xml"/><Relationship Id="rId31" Type="http://schemas.openxmlformats.org/officeDocument/2006/relationships/slide" Target="slide125.xml"/><Relationship Id="rId4" Type="http://schemas.openxmlformats.org/officeDocument/2006/relationships/tags" Target="../tags/tag1649.xml"/><Relationship Id="rId9" Type="http://schemas.openxmlformats.org/officeDocument/2006/relationships/tags" Target="../tags/tag1654.xml"/><Relationship Id="rId14" Type="http://schemas.openxmlformats.org/officeDocument/2006/relationships/tags" Target="../tags/tag1659.xml"/><Relationship Id="rId22" Type="http://schemas.openxmlformats.org/officeDocument/2006/relationships/tags" Target="../tags/tag1667.xml"/><Relationship Id="rId27" Type="http://schemas.openxmlformats.org/officeDocument/2006/relationships/tags" Target="../tags/tag1672.xml"/><Relationship Id="rId30" Type="http://schemas.openxmlformats.org/officeDocument/2006/relationships/slide" Target="slide149.xml"/><Relationship Id="rId35" Type="http://schemas.openxmlformats.org/officeDocument/2006/relationships/slide" Target="slide9.xml"/><Relationship Id="rId8" Type="http://schemas.openxmlformats.org/officeDocument/2006/relationships/tags" Target="../tags/tag1653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54.xml"/><Relationship Id="rId18" Type="http://schemas.openxmlformats.org/officeDocument/2006/relationships/tags" Target="../tags/tag159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144.xml"/><Relationship Id="rId21" Type="http://schemas.openxmlformats.org/officeDocument/2006/relationships/tags" Target="../tags/tag162.xml"/><Relationship Id="rId34" Type="http://schemas.openxmlformats.org/officeDocument/2006/relationships/oleObject" Target="../embeddings/oleObject13.bin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17" Type="http://schemas.openxmlformats.org/officeDocument/2006/relationships/tags" Target="../tags/tag158.xml"/><Relationship Id="rId25" Type="http://schemas.openxmlformats.org/officeDocument/2006/relationships/tags" Target="../tags/tag166.xml"/><Relationship Id="rId33" Type="http://schemas.openxmlformats.org/officeDocument/2006/relationships/slide" Target="slide11.xml"/><Relationship Id="rId2" Type="http://schemas.openxmlformats.org/officeDocument/2006/relationships/tags" Target="../tags/tag143.xml"/><Relationship Id="rId16" Type="http://schemas.openxmlformats.org/officeDocument/2006/relationships/tags" Target="../tags/tag157.xml"/><Relationship Id="rId20" Type="http://schemas.openxmlformats.org/officeDocument/2006/relationships/tags" Target="../tags/tag161.xml"/><Relationship Id="rId29" Type="http://schemas.openxmlformats.org/officeDocument/2006/relationships/slide" Target="slide19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24" Type="http://schemas.openxmlformats.org/officeDocument/2006/relationships/tags" Target="../tags/tag165.xml"/><Relationship Id="rId32" Type="http://schemas.openxmlformats.org/officeDocument/2006/relationships/slide" Target="slide13.xml"/><Relationship Id="rId5" Type="http://schemas.openxmlformats.org/officeDocument/2006/relationships/tags" Target="../tags/tag146.xml"/><Relationship Id="rId15" Type="http://schemas.openxmlformats.org/officeDocument/2006/relationships/tags" Target="../tags/tag156.xml"/><Relationship Id="rId23" Type="http://schemas.openxmlformats.org/officeDocument/2006/relationships/tags" Target="../tags/tag164.xml"/><Relationship Id="rId28" Type="http://schemas.openxmlformats.org/officeDocument/2006/relationships/slide" Target="slide21.xml"/><Relationship Id="rId10" Type="http://schemas.openxmlformats.org/officeDocument/2006/relationships/tags" Target="../tags/tag151.xml"/><Relationship Id="rId19" Type="http://schemas.openxmlformats.org/officeDocument/2006/relationships/tags" Target="../tags/tag160.xml"/><Relationship Id="rId31" Type="http://schemas.openxmlformats.org/officeDocument/2006/relationships/slide" Target="slide15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tags" Target="../tags/tag155.xml"/><Relationship Id="rId22" Type="http://schemas.openxmlformats.org/officeDocument/2006/relationships/tags" Target="../tags/tag163.xml"/><Relationship Id="rId27" Type="http://schemas.openxmlformats.org/officeDocument/2006/relationships/slide" Target="slide23.xml"/><Relationship Id="rId30" Type="http://schemas.openxmlformats.org/officeDocument/2006/relationships/slide" Target="slide17.xml"/><Relationship Id="rId35" Type="http://schemas.openxmlformats.org/officeDocument/2006/relationships/image" Target="../media/image1.emf"/><Relationship Id="rId8" Type="http://schemas.openxmlformats.org/officeDocument/2006/relationships/tags" Target="../tags/tag149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1.xml.rels><?xml version="1.0" encoding="UTF-8" standalone="yes"?>
<Relationships xmlns="http://schemas.openxmlformats.org/package/2006/relationships"><Relationship Id="rId8" Type="http://schemas.openxmlformats.org/officeDocument/2006/relationships/tags" Target="../tags/tag1680.xml"/><Relationship Id="rId13" Type="http://schemas.openxmlformats.org/officeDocument/2006/relationships/tags" Target="../tags/tag1685.xml"/><Relationship Id="rId18" Type="http://schemas.openxmlformats.org/officeDocument/2006/relationships/tags" Target="../tags/tag1690.xml"/><Relationship Id="rId3" Type="http://schemas.openxmlformats.org/officeDocument/2006/relationships/tags" Target="../tags/tag1675.xml"/><Relationship Id="rId21" Type="http://schemas.openxmlformats.org/officeDocument/2006/relationships/slide" Target="slide173.xml"/><Relationship Id="rId7" Type="http://schemas.openxmlformats.org/officeDocument/2006/relationships/tags" Target="../tags/tag1679.xml"/><Relationship Id="rId12" Type="http://schemas.openxmlformats.org/officeDocument/2006/relationships/tags" Target="../tags/tag1684.xml"/><Relationship Id="rId17" Type="http://schemas.openxmlformats.org/officeDocument/2006/relationships/tags" Target="../tags/tag1689.xml"/><Relationship Id="rId2" Type="http://schemas.openxmlformats.org/officeDocument/2006/relationships/tags" Target="../tags/tag1674.xml"/><Relationship Id="rId16" Type="http://schemas.openxmlformats.org/officeDocument/2006/relationships/tags" Target="../tags/tag1688.xml"/><Relationship Id="rId20" Type="http://schemas.openxmlformats.org/officeDocument/2006/relationships/slide" Target="slide183.xml"/><Relationship Id="rId1" Type="http://schemas.openxmlformats.org/officeDocument/2006/relationships/tags" Target="../tags/tag1673.xml"/><Relationship Id="rId6" Type="http://schemas.openxmlformats.org/officeDocument/2006/relationships/tags" Target="../tags/tag1678.xml"/><Relationship Id="rId11" Type="http://schemas.openxmlformats.org/officeDocument/2006/relationships/tags" Target="../tags/tag1683.xml"/><Relationship Id="rId24" Type="http://schemas.openxmlformats.org/officeDocument/2006/relationships/slide" Target="slide151.xml"/><Relationship Id="rId5" Type="http://schemas.openxmlformats.org/officeDocument/2006/relationships/tags" Target="../tags/tag1677.xml"/><Relationship Id="rId15" Type="http://schemas.openxmlformats.org/officeDocument/2006/relationships/tags" Target="../tags/tag1687.xml"/><Relationship Id="rId23" Type="http://schemas.openxmlformats.org/officeDocument/2006/relationships/slide" Target="slide153.xml"/><Relationship Id="rId10" Type="http://schemas.openxmlformats.org/officeDocument/2006/relationships/tags" Target="../tags/tag1682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1676.xml"/><Relationship Id="rId9" Type="http://schemas.openxmlformats.org/officeDocument/2006/relationships/tags" Target="../tags/tag1681.xml"/><Relationship Id="rId14" Type="http://schemas.openxmlformats.org/officeDocument/2006/relationships/tags" Target="../tags/tag1686.xml"/><Relationship Id="rId22" Type="http://schemas.openxmlformats.org/officeDocument/2006/relationships/slide" Target="slide163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3.xml.rels><?xml version="1.0" encoding="UTF-8" standalone="yes"?>
<Relationships xmlns="http://schemas.openxmlformats.org/package/2006/relationships"><Relationship Id="rId13" Type="http://schemas.openxmlformats.org/officeDocument/2006/relationships/tags" Target="../tags/tag1703.xml"/><Relationship Id="rId18" Type="http://schemas.openxmlformats.org/officeDocument/2006/relationships/tags" Target="../tags/tag1708.xml"/><Relationship Id="rId26" Type="http://schemas.openxmlformats.org/officeDocument/2006/relationships/tags" Target="../tags/tag1716.xml"/><Relationship Id="rId39" Type="http://schemas.openxmlformats.org/officeDocument/2006/relationships/slide" Target="slide153.xml"/><Relationship Id="rId21" Type="http://schemas.openxmlformats.org/officeDocument/2006/relationships/tags" Target="../tags/tag1711.xml"/><Relationship Id="rId34" Type="http://schemas.openxmlformats.org/officeDocument/2006/relationships/slide" Target="slide163.xml"/><Relationship Id="rId7" Type="http://schemas.openxmlformats.org/officeDocument/2006/relationships/tags" Target="../tags/tag1697.xml"/><Relationship Id="rId12" Type="http://schemas.openxmlformats.org/officeDocument/2006/relationships/tags" Target="../tags/tag1702.xml"/><Relationship Id="rId17" Type="http://schemas.openxmlformats.org/officeDocument/2006/relationships/tags" Target="../tags/tag1707.xml"/><Relationship Id="rId25" Type="http://schemas.openxmlformats.org/officeDocument/2006/relationships/tags" Target="../tags/tag1715.xml"/><Relationship Id="rId33" Type="http://schemas.openxmlformats.org/officeDocument/2006/relationships/slide" Target="slide173.xml"/><Relationship Id="rId38" Type="http://schemas.openxmlformats.org/officeDocument/2006/relationships/slide" Target="slide155.xml"/><Relationship Id="rId2" Type="http://schemas.openxmlformats.org/officeDocument/2006/relationships/tags" Target="../tags/tag1692.xml"/><Relationship Id="rId16" Type="http://schemas.openxmlformats.org/officeDocument/2006/relationships/tags" Target="../tags/tag1706.xml"/><Relationship Id="rId20" Type="http://schemas.openxmlformats.org/officeDocument/2006/relationships/tags" Target="../tags/tag1710.xml"/><Relationship Id="rId29" Type="http://schemas.openxmlformats.org/officeDocument/2006/relationships/tags" Target="../tags/tag1719.xml"/><Relationship Id="rId1" Type="http://schemas.openxmlformats.org/officeDocument/2006/relationships/tags" Target="../tags/tag1691.xml"/><Relationship Id="rId6" Type="http://schemas.openxmlformats.org/officeDocument/2006/relationships/tags" Target="../tags/tag1696.xml"/><Relationship Id="rId11" Type="http://schemas.openxmlformats.org/officeDocument/2006/relationships/tags" Target="../tags/tag1701.xml"/><Relationship Id="rId24" Type="http://schemas.openxmlformats.org/officeDocument/2006/relationships/tags" Target="../tags/tag1714.xml"/><Relationship Id="rId32" Type="http://schemas.openxmlformats.org/officeDocument/2006/relationships/slide" Target="slide183.xml"/><Relationship Id="rId37" Type="http://schemas.openxmlformats.org/officeDocument/2006/relationships/slide" Target="slide157.xml"/><Relationship Id="rId40" Type="http://schemas.openxmlformats.org/officeDocument/2006/relationships/slide" Target="slide151.xml"/><Relationship Id="rId5" Type="http://schemas.openxmlformats.org/officeDocument/2006/relationships/tags" Target="../tags/tag1695.xml"/><Relationship Id="rId15" Type="http://schemas.openxmlformats.org/officeDocument/2006/relationships/tags" Target="../tags/tag1705.xml"/><Relationship Id="rId23" Type="http://schemas.openxmlformats.org/officeDocument/2006/relationships/tags" Target="../tags/tag1713.xml"/><Relationship Id="rId28" Type="http://schemas.openxmlformats.org/officeDocument/2006/relationships/tags" Target="../tags/tag1718.xml"/><Relationship Id="rId36" Type="http://schemas.openxmlformats.org/officeDocument/2006/relationships/slide" Target="slide159.xml"/><Relationship Id="rId10" Type="http://schemas.openxmlformats.org/officeDocument/2006/relationships/tags" Target="../tags/tag1700.xml"/><Relationship Id="rId19" Type="http://schemas.openxmlformats.org/officeDocument/2006/relationships/tags" Target="../tags/tag170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694.xml"/><Relationship Id="rId9" Type="http://schemas.openxmlformats.org/officeDocument/2006/relationships/tags" Target="../tags/tag1699.xml"/><Relationship Id="rId14" Type="http://schemas.openxmlformats.org/officeDocument/2006/relationships/tags" Target="../tags/tag1704.xml"/><Relationship Id="rId22" Type="http://schemas.openxmlformats.org/officeDocument/2006/relationships/tags" Target="../tags/tag1712.xml"/><Relationship Id="rId27" Type="http://schemas.openxmlformats.org/officeDocument/2006/relationships/tags" Target="../tags/tag1717.xml"/><Relationship Id="rId30" Type="http://schemas.openxmlformats.org/officeDocument/2006/relationships/tags" Target="../tags/tag1720.xml"/><Relationship Id="rId35" Type="http://schemas.openxmlformats.org/officeDocument/2006/relationships/slide" Target="slide161.xml"/><Relationship Id="rId8" Type="http://schemas.openxmlformats.org/officeDocument/2006/relationships/tags" Target="../tags/tag1698.xml"/><Relationship Id="rId3" Type="http://schemas.openxmlformats.org/officeDocument/2006/relationships/tags" Target="../tags/tag1693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5.xml.rels><?xml version="1.0" encoding="UTF-8" standalone="yes"?>
<Relationships xmlns="http://schemas.openxmlformats.org/package/2006/relationships"><Relationship Id="rId13" Type="http://schemas.openxmlformats.org/officeDocument/2006/relationships/tags" Target="../tags/tag1733.xml"/><Relationship Id="rId18" Type="http://schemas.openxmlformats.org/officeDocument/2006/relationships/tags" Target="../tags/tag1738.xml"/><Relationship Id="rId26" Type="http://schemas.openxmlformats.org/officeDocument/2006/relationships/tags" Target="../tags/tag1746.xml"/><Relationship Id="rId39" Type="http://schemas.openxmlformats.org/officeDocument/2006/relationships/slide" Target="slide153.xml"/><Relationship Id="rId21" Type="http://schemas.openxmlformats.org/officeDocument/2006/relationships/tags" Target="../tags/tag1741.xml"/><Relationship Id="rId34" Type="http://schemas.openxmlformats.org/officeDocument/2006/relationships/slide" Target="slide163.xml"/><Relationship Id="rId7" Type="http://schemas.openxmlformats.org/officeDocument/2006/relationships/tags" Target="../tags/tag1727.xml"/><Relationship Id="rId12" Type="http://schemas.openxmlformats.org/officeDocument/2006/relationships/tags" Target="../tags/tag1732.xml"/><Relationship Id="rId17" Type="http://schemas.openxmlformats.org/officeDocument/2006/relationships/tags" Target="../tags/tag1737.xml"/><Relationship Id="rId25" Type="http://schemas.openxmlformats.org/officeDocument/2006/relationships/tags" Target="../tags/tag1745.xml"/><Relationship Id="rId33" Type="http://schemas.openxmlformats.org/officeDocument/2006/relationships/slide" Target="slide173.xml"/><Relationship Id="rId38" Type="http://schemas.openxmlformats.org/officeDocument/2006/relationships/slide" Target="slide155.xml"/><Relationship Id="rId2" Type="http://schemas.openxmlformats.org/officeDocument/2006/relationships/tags" Target="../tags/tag1722.xml"/><Relationship Id="rId16" Type="http://schemas.openxmlformats.org/officeDocument/2006/relationships/tags" Target="../tags/tag1736.xml"/><Relationship Id="rId20" Type="http://schemas.openxmlformats.org/officeDocument/2006/relationships/tags" Target="../tags/tag1740.xml"/><Relationship Id="rId29" Type="http://schemas.openxmlformats.org/officeDocument/2006/relationships/tags" Target="../tags/tag1749.xml"/><Relationship Id="rId1" Type="http://schemas.openxmlformats.org/officeDocument/2006/relationships/tags" Target="../tags/tag1721.xml"/><Relationship Id="rId6" Type="http://schemas.openxmlformats.org/officeDocument/2006/relationships/tags" Target="../tags/tag1726.xml"/><Relationship Id="rId11" Type="http://schemas.openxmlformats.org/officeDocument/2006/relationships/tags" Target="../tags/tag1731.xml"/><Relationship Id="rId24" Type="http://schemas.openxmlformats.org/officeDocument/2006/relationships/tags" Target="../tags/tag1744.xml"/><Relationship Id="rId32" Type="http://schemas.openxmlformats.org/officeDocument/2006/relationships/slide" Target="slide183.xml"/><Relationship Id="rId37" Type="http://schemas.openxmlformats.org/officeDocument/2006/relationships/slide" Target="slide157.xml"/><Relationship Id="rId40" Type="http://schemas.openxmlformats.org/officeDocument/2006/relationships/slide" Target="slide151.xml"/><Relationship Id="rId5" Type="http://schemas.openxmlformats.org/officeDocument/2006/relationships/tags" Target="../tags/tag1725.xml"/><Relationship Id="rId15" Type="http://schemas.openxmlformats.org/officeDocument/2006/relationships/tags" Target="../tags/tag1735.xml"/><Relationship Id="rId23" Type="http://schemas.openxmlformats.org/officeDocument/2006/relationships/tags" Target="../tags/tag1743.xml"/><Relationship Id="rId28" Type="http://schemas.openxmlformats.org/officeDocument/2006/relationships/tags" Target="../tags/tag1748.xml"/><Relationship Id="rId36" Type="http://schemas.openxmlformats.org/officeDocument/2006/relationships/slide" Target="slide159.xml"/><Relationship Id="rId10" Type="http://schemas.openxmlformats.org/officeDocument/2006/relationships/tags" Target="../tags/tag1730.xml"/><Relationship Id="rId19" Type="http://schemas.openxmlformats.org/officeDocument/2006/relationships/tags" Target="../tags/tag173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724.xml"/><Relationship Id="rId9" Type="http://schemas.openxmlformats.org/officeDocument/2006/relationships/tags" Target="../tags/tag1729.xml"/><Relationship Id="rId14" Type="http://schemas.openxmlformats.org/officeDocument/2006/relationships/tags" Target="../tags/tag1734.xml"/><Relationship Id="rId22" Type="http://schemas.openxmlformats.org/officeDocument/2006/relationships/tags" Target="../tags/tag1742.xml"/><Relationship Id="rId27" Type="http://schemas.openxmlformats.org/officeDocument/2006/relationships/tags" Target="../tags/tag1747.xml"/><Relationship Id="rId30" Type="http://schemas.openxmlformats.org/officeDocument/2006/relationships/tags" Target="../tags/tag1750.xml"/><Relationship Id="rId35" Type="http://schemas.openxmlformats.org/officeDocument/2006/relationships/slide" Target="slide161.xml"/><Relationship Id="rId8" Type="http://schemas.openxmlformats.org/officeDocument/2006/relationships/tags" Target="../tags/tag1728.xml"/><Relationship Id="rId3" Type="http://schemas.openxmlformats.org/officeDocument/2006/relationships/tags" Target="../tags/tag1723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7.xml.rels><?xml version="1.0" encoding="UTF-8" standalone="yes"?>
<Relationships xmlns="http://schemas.openxmlformats.org/package/2006/relationships"><Relationship Id="rId13" Type="http://schemas.openxmlformats.org/officeDocument/2006/relationships/tags" Target="../tags/tag1763.xml"/><Relationship Id="rId18" Type="http://schemas.openxmlformats.org/officeDocument/2006/relationships/tags" Target="../tags/tag1768.xml"/><Relationship Id="rId26" Type="http://schemas.openxmlformats.org/officeDocument/2006/relationships/tags" Target="../tags/tag1776.xml"/><Relationship Id="rId39" Type="http://schemas.openxmlformats.org/officeDocument/2006/relationships/slide" Target="slide153.xml"/><Relationship Id="rId21" Type="http://schemas.openxmlformats.org/officeDocument/2006/relationships/tags" Target="../tags/tag1771.xml"/><Relationship Id="rId34" Type="http://schemas.openxmlformats.org/officeDocument/2006/relationships/slide" Target="slide163.xml"/><Relationship Id="rId7" Type="http://schemas.openxmlformats.org/officeDocument/2006/relationships/tags" Target="../tags/tag1757.xml"/><Relationship Id="rId12" Type="http://schemas.openxmlformats.org/officeDocument/2006/relationships/tags" Target="../tags/tag1762.xml"/><Relationship Id="rId17" Type="http://schemas.openxmlformats.org/officeDocument/2006/relationships/tags" Target="../tags/tag1767.xml"/><Relationship Id="rId25" Type="http://schemas.openxmlformats.org/officeDocument/2006/relationships/tags" Target="../tags/tag1775.xml"/><Relationship Id="rId33" Type="http://schemas.openxmlformats.org/officeDocument/2006/relationships/slide" Target="slide173.xml"/><Relationship Id="rId38" Type="http://schemas.openxmlformats.org/officeDocument/2006/relationships/slide" Target="slide155.xml"/><Relationship Id="rId2" Type="http://schemas.openxmlformats.org/officeDocument/2006/relationships/tags" Target="../tags/tag1752.xml"/><Relationship Id="rId16" Type="http://schemas.openxmlformats.org/officeDocument/2006/relationships/tags" Target="../tags/tag1766.xml"/><Relationship Id="rId20" Type="http://schemas.openxmlformats.org/officeDocument/2006/relationships/tags" Target="../tags/tag1770.xml"/><Relationship Id="rId29" Type="http://schemas.openxmlformats.org/officeDocument/2006/relationships/tags" Target="../tags/tag1779.xml"/><Relationship Id="rId1" Type="http://schemas.openxmlformats.org/officeDocument/2006/relationships/tags" Target="../tags/tag1751.xml"/><Relationship Id="rId6" Type="http://schemas.openxmlformats.org/officeDocument/2006/relationships/tags" Target="../tags/tag1756.xml"/><Relationship Id="rId11" Type="http://schemas.openxmlformats.org/officeDocument/2006/relationships/tags" Target="../tags/tag1761.xml"/><Relationship Id="rId24" Type="http://schemas.openxmlformats.org/officeDocument/2006/relationships/tags" Target="../tags/tag1774.xml"/><Relationship Id="rId32" Type="http://schemas.openxmlformats.org/officeDocument/2006/relationships/slide" Target="slide183.xml"/><Relationship Id="rId37" Type="http://schemas.openxmlformats.org/officeDocument/2006/relationships/slide" Target="slide157.xml"/><Relationship Id="rId40" Type="http://schemas.openxmlformats.org/officeDocument/2006/relationships/slide" Target="slide151.xml"/><Relationship Id="rId5" Type="http://schemas.openxmlformats.org/officeDocument/2006/relationships/tags" Target="../tags/tag1755.xml"/><Relationship Id="rId15" Type="http://schemas.openxmlformats.org/officeDocument/2006/relationships/tags" Target="../tags/tag1765.xml"/><Relationship Id="rId23" Type="http://schemas.openxmlformats.org/officeDocument/2006/relationships/tags" Target="../tags/tag1773.xml"/><Relationship Id="rId28" Type="http://schemas.openxmlformats.org/officeDocument/2006/relationships/tags" Target="../tags/tag1778.xml"/><Relationship Id="rId36" Type="http://schemas.openxmlformats.org/officeDocument/2006/relationships/slide" Target="slide159.xml"/><Relationship Id="rId10" Type="http://schemas.openxmlformats.org/officeDocument/2006/relationships/tags" Target="../tags/tag1760.xml"/><Relationship Id="rId19" Type="http://schemas.openxmlformats.org/officeDocument/2006/relationships/tags" Target="../tags/tag176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754.xml"/><Relationship Id="rId9" Type="http://schemas.openxmlformats.org/officeDocument/2006/relationships/tags" Target="../tags/tag1759.xml"/><Relationship Id="rId14" Type="http://schemas.openxmlformats.org/officeDocument/2006/relationships/tags" Target="../tags/tag1764.xml"/><Relationship Id="rId22" Type="http://schemas.openxmlformats.org/officeDocument/2006/relationships/tags" Target="../tags/tag1772.xml"/><Relationship Id="rId27" Type="http://schemas.openxmlformats.org/officeDocument/2006/relationships/tags" Target="../tags/tag1777.xml"/><Relationship Id="rId30" Type="http://schemas.openxmlformats.org/officeDocument/2006/relationships/tags" Target="../tags/tag1780.xml"/><Relationship Id="rId35" Type="http://schemas.openxmlformats.org/officeDocument/2006/relationships/slide" Target="slide161.xml"/><Relationship Id="rId8" Type="http://schemas.openxmlformats.org/officeDocument/2006/relationships/tags" Target="../tags/tag1758.xml"/><Relationship Id="rId3" Type="http://schemas.openxmlformats.org/officeDocument/2006/relationships/tags" Target="../tags/tag1753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9.xml.rels><?xml version="1.0" encoding="UTF-8" standalone="yes"?>
<Relationships xmlns="http://schemas.openxmlformats.org/package/2006/relationships"><Relationship Id="rId13" Type="http://schemas.openxmlformats.org/officeDocument/2006/relationships/tags" Target="../tags/tag1793.xml"/><Relationship Id="rId18" Type="http://schemas.openxmlformats.org/officeDocument/2006/relationships/tags" Target="../tags/tag1798.xml"/><Relationship Id="rId26" Type="http://schemas.openxmlformats.org/officeDocument/2006/relationships/tags" Target="../tags/tag1806.xml"/><Relationship Id="rId39" Type="http://schemas.openxmlformats.org/officeDocument/2006/relationships/slide" Target="slide153.xml"/><Relationship Id="rId21" Type="http://schemas.openxmlformats.org/officeDocument/2006/relationships/tags" Target="../tags/tag1801.xml"/><Relationship Id="rId34" Type="http://schemas.openxmlformats.org/officeDocument/2006/relationships/slide" Target="slide163.xml"/><Relationship Id="rId7" Type="http://schemas.openxmlformats.org/officeDocument/2006/relationships/tags" Target="../tags/tag1787.xml"/><Relationship Id="rId12" Type="http://schemas.openxmlformats.org/officeDocument/2006/relationships/tags" Target="../tags/tag1792.xml"/><Relationship Id="rId17" Type="http://schemas.openxmlformats.org/officeDocument/2006/relationships/tags" Target="../tags/tag1797.xml"/><Relationship Id="rId25" Type="http://schemas.openxmlformats.org/officeDocument/2006/relationships/tags" Target="../tags/tag1805.xml"/><Relationship Id="rId33" Type="http://schemas.openxmlformats.org/officeDocument/2006/relationships/slide" Target="slide173.xml"/><Relationship Id="rId38" Type="http://schemas.openxmlformats.org/officeDocument/2006/relationships/slide" Target="slide155.xml"/><Relationship Id="rId2" Type="http://schemas.openxmlformats.org/officeDocument/2006/relationships/tags" Target="../tags/tag1782.xml"/><Relationship Id="rId16" Type="http://schemas.openxmlformats.org/officeDocument/2006/relationships/tags" Target="../tags/tag1796.xml"/><Relationship Id="rId20" Type="http://schemas.openxmlformats.org/officeDocument/2006/relationships/tags" Target="../tags/tag1800.xml"/><Relationship Id="rId29" Type="http://schemas.openxmlformats.org/officeDocument/2006/relationships/tags" Target="../tags/tag1809.xml"/><Relationship Id="rId1" Type="http://schemas.openxmlformats.org/officeDocument/2006/relationships/tags" Target="../tags/tag1781.xml"/><Relationship Id="rId6" Type="http://schemas.openxmlformats.org/officeDocument/2006/relationships/tags" Target="../tags/tag1786.xml"/><Relationship Id="rId11" Type="http://schemas.openxmlformats.org/officeDocument/2006/relationships/tags" Target="../tags/tag1791.xml"/><Relationship Id="rId24" Type="http://schemas.openxmlformats.org/officeDocument/2006/relationships/tags" Target="../tags/tag1804.xml"/><Relationship Id="rId32" Type="http://schemas.openxmlformats.org/officeDocument/2006/relationships/slide" Target="slide183.xml"/><Relationship Id="rId37" Type="http://schemas.openxmlformats.org/officeDocument/2006/relationships/slide" Target="slide157.xml"/><Relationship Id="rId40" Type="http://schemas.openxmlformats.org/officeDocument/2006/relationships/slide" Target="slide151.xml"/><Relationship Id="rId5" Type="http://schemas.openxmlformats.org/officeDocument/2006/relationships/tags" Target="../tags/tag1785.xml"/><Relationship Id="rId15" Type="http://schemas.openxmlformats.org/officeDocument/2006/relationships/tags" Target="../tags/tag1795.xml"/><Relationship Id="rId23" Type="http://schemas.openxmlformats.org/officeDocument/2006/relationships/tags" Target="../tags/tag1803.xml"/><Relationship Id="rId28" Type="http://schemas.openxmlformats.org/officeDocument/2006/relationships/tags" Target="../tags/tag1808.xml"/><Relationship Id="rId36" Type="http://schemas.openxmlformats.org/officeDocument/2006/relationships/slide" Target="slide159.xml"/><Relationship Id="rId10" Type="http://schemas.openxmlformats.org/officeDocument/2006/relationships/tags" Target="../tags/tag1790.xml"/><Relationship Id="rId19" Type="http://schemas.openxmlformats.org/officeDocument/2006/relationships/tags" Target="../tags/tag179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784.xml"/><Relationship Id="rId9" Type="http://schemas.openxmlformats.org/officeDocument/2006/relationships/tags" Target="../tags/tag1789.xml"/><Relationship Id="rId14" Type="http://schemas.openxmlformats.org/officeDocument/2006/relationships/tags" Target="../tags/tag1794.xml"/><Relationship Id="rId22" Type="http://schemas.openxmlformats.org/officeDocument/2006/relationships/tags" Target="../tags/tag1802.xml"/><Relationship Id="rId27" Type="http://schemas.openxmlformats.org/officeDocument/2006/relationships/tags" Target="../tags/tag1807.xml"/><Relationship Id="rId30" Type="http://schemas.openxmlformats.org/officeDocument/2006/relationships/tags" Target="../tags/tag1810.xml"/><Relationship Id="rId35" Type="http://schemas.openxmlformats.org/officeDocument/2006/relationships/slide" Target="slide161.xml"/><Relationship Id="rId8" Type="http://schemas.openxmlformats.org/officeDocument/2006/relationships/tags" Target="../tags/tag1788.xml"/><Relationship Id="rId3" Type="http://schemas.openxmlformats.org/officeDocument/2006/relationships/tags" Target="../tags/tag178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7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1.xml.rels><?xml version="1.0" encoding="UTF-8" standalone="yes"?>
<Relationships xmlns="http://schemas.openxmlformats.org/package/2006/relationships"><Relationship Id="rId13" Type="http://schemas.openxmlformats.org/officeDocument/2006/relationships/tags" Target="../tags/tag1823.xml"/><Relationship Id="rId18" Type="http://schemas.openxmlformats.org/officeDocument/2006/relationships/tags" Target="../tags/tag1828.xml"/><Relationship Id="rId26" Type="http://schemas.openxmlformats.org/officeDocument/2006/relationships/tags" Target="../tags/tag1836.xml"/><Relationship Id="rId39" Type="http://schemas.openxmlformats.org/officeDocument/2006/relationships/slide" Target="slide153.xml"/><Relationship Id="rId21" Type="http://schemas.openxmlformats.org/officeDocument/2006/relationships/tags" Target="../tags/tag1831.xml"/><Relationship Id="rId34" Type="http://schemas.openxmlformats.org/officeDocument/2006/relationships/slide" Target="slide163.xml"/><Relationship Id="rId7" Type="http://schemas.openxmlformats.org/officeDocument/2006/relationships/tags" Target="../tags/tag1817.xml"/><Relationship Id="rId12" Type="http://schemas.openxmlformats.org/officeDocument/2006/relationships/tags" Target="../tags/tag1822.xml"/><Relationship Id="rId17" Type="http://schemas.openxmlformats.org/officeDocument/2006/relationships/tags" Target="../tags/tag1827.xml"/><Relationship Id="rId25" Type="http://schemas.openxmlformats.org/officeDocument/2006/relationships/tags" Target="../tags/tag1835.xml"/><Relationship Id="rId33" Type="http://schemas.openxmlformats.org/officeDocument/2006/relationships/slide" Target="slide173.xml"/><Relationship Id="rId38" Type="http://schemas.openxmlformats.org/officeDocument/2006/relationships/slide" Target="slide155.xml"/><Relationship Id="rId2" Type="http://schemas.openxmlformats.org/officeDocument/2006/relationships/tags" Target="../tags/tag1812.xml"/><Relationship Id="rId16" Type="http://schemas.openxmlformats.org/officeDocument/2006/relationships/tags" Target="../tags/tag1826.xml"/><Relationship Id="rId20" Type="http://schemas.openxmlformats.org/officeDocument/2006/relationships/tags" Target="../tags/tag1830.xml"/><Relationship Id="rId29" Type="http://schemas.openxmlformats.org/officeDocument/2006/relationships/tags" Target="../tags/tag1839.xml"/><Relationship Id="rId1" Type="http://schemas.openxmlformats.org/officeDocument/2006/relationships/tags" Target="../tags/tag1811.xml"/><Relationship Id="rId6" Type="http://schemas.openxmlformats.org/officeDocument/2006/relationships/tags" Target="../tags/tag1816.xml"/><Relationship Id="rId11" Type="http://schemas.openxmlformats.org/officeDocument/2006/relationships/tags" Target="../tags/tag1821.xml"/><Relationship Id="rId24" Type="http://schemas.openxmlformats.org/officeDocument/2006/relationships/tags" Target="../tags/tag1834.xml"/><Relationship Id="rId32" Type="http://schemas.openxmlformats.org/officeDocument/2006/relationships/slide" Target="slide183.xml"/><Relationship Id="rId37" Type="http://schemas.openxmlformats.org/officeDocument/2006/relationships/slide" Target="slide157.xml"/><Relationship Id="rId40" Type="http://schemas.openxmlformats.org/officeDocument/2006/relationships/slide" Target="slide151.xml"/><Relationship Id="rId5" Type="http://schemas.openxmlformats.org/officeDocument/2006/relationships/tags" Target="../tags/tag1815.xml"/><Relationship Id="rId15" Type="http://schemas.openxmlformats.org/officeDocument/2006/relationships/tags" Target="../tags/tag1825.xml"/><Relationship Id="rId23" Type="http://schemas.openxmlformats.org/officeDocument/2006/relationships/tags" Target="../tags/tag1833.xml"/><Relationship Id="rId28" Type="http://schemas.openxmlformats.org/officeDocument/2006/relationships/tags" Target="../tags/tag1838.xml"/><Relationship Id="rId36" Type="http://schemas.openxmlformats.org/officeDocument/2006/relationships/slide" Target="slide159.xml"/><Relationship Id="rId10" Type="http://schemas.openxmlformats.org/officeDocument/2006/relationships/tags" Target="../tags/tag1820.xml"/><Relationship Id="rId19" Type="http://schemas.openxmlformats.org/officeDocument/2006/relationships/tags" Target="../tags/tag182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814.xml"/><Relationship Id="rId9" Type="http://schemas.openxmlformats.org/officeDocument/2006/relationships/tags" Target="../tags/tag1819.xml"/><Relationship Id="rId14" Type="http://schemas.openxmlformats.org/officeDocument/2006/relationships/tags" Target="../tags/tag1824.xml"/><Relationship Id="rId22" Type="http://schemas.openxmlformats.org/officeDocument/2006/relationships/tags" Target="../tags/tag1832.xml"/><Relationship Id="rId27" Type="http://schemas.openxmlformats.org/officeDocument/2006/relationships/tags" Target="../tags/tag1837.xml"/><Relationship Id="rId30" Type="http://schemas.openxmlformats.org/officeDocument/2006/relationships/tags" Target="../tags/tag1840.xml"/><Relationship Id="rId35" Type="http://schemas.openxmlformats.org/officeDocument/2006/relationships/slide" Target="slide161.xml"/><Relationship Id="rId8" Type="http://schemas.openxmlformats.org/officeDocument/2006/relationships/tags" Target="../tags/tag1818.xml"/><Relationship Id="rId3" Type="http://schemas.openxmlformats.org/officeDocument/2006/relationships/tags" Target="../tags/tag1813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3.xml.rels><?xml version="1.0" encoding="UTF-8" standalone="yes"?>
<Relationships xmlns="http://schemas.openxmlformats.org/package/2006/relationships"><Relationship Id="rId13" Type="http://schemas.openxmlformats.org/officeDocument/2006/relationships/tags" Target="../tags/tag1853.xml"/><Relationship Id="rId18" Type="http://schemas.openxmlformats.org/officeDocument/2006/relationships/tags" Target="../tags/tag1858.xml"/><Relationship Id="rId26" Type="http://schemas.openxmlformats.org/officeDocument/2006/relationships/tags" Target="../tags/tag1866.xml"/><Relationship Id="rId39" Type="http://schemas.openxmlformats.org/officeDocument/2006/relationships/slide" Target="slide153.xml"/><Relationship Id="rId21" Type="http://schemas.openxmlformats.org/officeDocument/2006/relationships/tags" Target="../tags/tag1861.xml"/><Relationship Id="rId34" Type="http://schemas.openxmlformats.org/officeDocument/2006/relationships/slide" Target="slide171.xml"/><Relationship Id="rId7" Type="http://schemas.openxmlformats.org/officeDocument/2006/relationships/tags" Target="../tags/tag1847.xml"/><Relationship Id="rId12" Type="http://schemas.openxmlformats.org/officeDocument/2006/relationships/tags" Target="../tags/tag1852.xml"/><Relationship Id="rId17" Type="http://schemas.openxmlformats.org/officeDocument/2006/relationships/tags" Target="../tags/tag1857.xml"/><Relationship Id="rId25" Type="http://schemas.openxmlformats.org/officeDocument/2006/relationships/tags" Target="../tags/tag1865.xml"/><Relationship Id="rId33" Type="http://schemas.openxmlformats.org/officeDocument/2006/relationships/slide" Target="slide173.xml"/><Relationship Id="rId38" Type="http://schemas.openxmlformats.org/officeDocument/2006/relationships/slide" Target="slide163.xml"/><Relationship Id="rId2" Type="http://schemas.openxmlformats.org/officeDocument/2006/relationships/tags" Target="../tags/tag1842.xml"/><Relationship Id="rId16" Type="http://schemas.openxmlformats.org/officeDocument/2006/relationships/tags" Target="../tags/tag1856.xml"/><Relationship Id="rId20" Type="http://schemas.openxmlformats.org/officeDocument/2006/relationships/tags" Target="../tags/tag1860.xml"/><Relationship Id="rId29" Type="http://schemas.openxmlformats.org/officeDocument/2006/relationships/tags" Target="../tags/tag1869.xml"/><Relationship Id="rId1" Type="http://schemas.openxmlformats.org/officeDocument/2006/relationships/tags" Target="../tags/tag1841.xml"/><Relationship Id="rId6" Type="http://schemas.openxmlformats.org/officeDocument/2006/relationships/tags" Target="../tags/tag1846.xml"/><Relationship Id="rId11" Type="http://schemas.openxmlformats.org/officeDocument/2006/relationships/tags" Target="../tags/tag1851.xml"/><Relationship Id="rId24" Type="http://schemas.openxmlformats.org/officeDocument/2006/relationships/tags" Target="../tags/tag1864.xml"/><Relationship Id="rId32" Type="http://schemas.openxmlformats.org/officeDocument/2006/relationships/slide" Target="slide183.xml"/><Relationship Id="rId37" Type="http://schemas.openxmlformats.org/officeDocument/2006/relationships/slide" Target="slide165.xml"/><Relationship Id="rId40" Type="http://schemas.openxmlformats.org/officeDocument/2006/relationships/slide" Target="slide151.xml"/><Relationship Id="rId5" Type="http://schemas.openxmlformats.org/officeDocument/2006/relationships/tags" Target="../tags/tag1845.xml"/><Relationship Id="rId15" Type="http://schemas.openxmlformats.org/officeDocument/2006/relationships/tags" Target="../tags/tag1855.xml"/><Relationship Id="rId23" Type="http://schemas.openxmlformats.org/officeDocument/2006/relationships/tags" Target="../tags/tag1863.xml"/><Relationship Id="rId28" Type="http://schemas.openxmlformats.org/officeDocument/2006/relationships/tags" Target="../tags/tag1868.xml"/><Relationship Id="rId36" Type="http://schemas.openxmlformats.org/officeDocument/2006/relationships/slide" Target="slide167.xml"/><Relationship Id="rId10" Type="http://schemas.openxmlformats.org/officeDocument/2006/relationships/tags" Target="../tags/tag1850.xml"/><Relationship Id="rId19" Type="http://schemas.openxmlformats.org/officeDocument/2006/relationships/tags" Target="../tags/tag185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844.xml"/><Relationship Id="rId9" Type="http://schemas.openxmlformats.org/officeDocument/2006/relationships/tags" Target="../tags/tag1849.xml"/><Relationship Id="rId14" Type="http://schemas.openxmlformats.org/officeDocument/2006/relationships/tags" Target="../tags/tag1854.xml"/><Relationship Id="rId22" Type="http://schemas.openxmlformats.org/officeDocument/2006/relationships/tags" Target="../tags/tag1862.xml"/><Relationship Id="rId27" Type="http://schemas.openxmlformats.org/officeDocument/2006/relationships/tags" Target="../tags/tag1867.xml"/><Relationship Id="rId30" Type="http://schemas.openxmlformats.org/officeDocument/2006/relationships/tags" Target="../tags/tag1870.xml"/><Relationship Id="rId35" Type="http://schemas.openxmlformats.org/officeDocument/2006/relationships/slide" Target="slide169.xml"/><Relationship Id="rId8" Type="http://schemas.openxmlformats.org/officeDocument/2006/relationships/tags" Target="../tags/tag1848.xml"/><Relationship Id="rId3" Type="http://schemas.openxmlformats.org/officeDocument/2006/relationships/tags" Target="../tags/tag1843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5.xml.rels><?xml version="1.0" encoding="UTF-8" standalone="yes"?>
<Relationships xmlns="http://schemas.openxmlformats.org/package/2006/relationships"><Relationship Id="rId13" Type="http://schemas.openxmlformats.org/officeDocument/2006/relationships/tags" Target="../tags/tag1883.xml"/><Relationship Id="rId18" Type="http://schemas.openxmlformats.org/officeDocument/2006/relationships/tags" Target="../tags/tag1888.xml"/><Relationship Id="rId26" Type="http://schemas.openxmlformats.org/officeDocument/2006/relationships/tags" Target="../tags/tag1896.xml"/><Relationship Id="rId39" Type="http://schemas.openxmlformats.org/officeDocument/2006/relationships/slide" Target="slide153.xml"/><Relationship Id="rId21" Type="http://schemas.openxmlformats.org/officeDocument/2006/relationships/tags" Target="../tags/tag1891.xml"/><Relationship Id="rId34" Type="http://schemas.openxmlformats.org/officeDocument/2006/relationships/slide" Target="slide171.xml"/><Relationship Id="rId7" Type="http://schemas.openxmlformats.org/officeDocument/2006/relationships/tags" Target="../tags/tag1877.xml"/><Relationship Id="rId12" Type="http://schemas.openxmlformats.org/officeDocument/2006/relationships/tags" Target="../tags/tag1882.xml"/><Relationship Id="rId17" Type="http://schemas.openxmlformats.org/officeDocument/2006/relationships/tags" Target="../tags/tag1887.xml"/><Relationship Id="rId25" Type="http://schemas.openxmlformats.org/officeDocument/2006/relationships/tags" Target="../tags/tag1895.xml"/><Relationship Id="rId33" Type="http://schemas.openxmlformats.org/officeDocument/2006/relationships/slide" Target="slide173.xml"/><Relationship Id="rId38" Type="http://schemas.openxmlformats.org/officeDocument/2006/relationships/slide" Target="slide163.xml"/><Relationship Id="rId2" Type="http://schemas.openxmlformats.org/officeDocument/2006/relationships/tags" Target="../tags/tag1872.xml"/><Relationship Id="rId16" Type="http://schemas.openxmlformats.org/officeDocument/2006/relationships/tags" Target="../tags/tag1886.xml"/><Relationship Id="rId20" Type="http://schemas.openxmlformats.org/officeDocument/2006/relationships/tags" Target="../tags/tag1890.xml"/><Relationship Id="rId29" Type="http://schemas.openxmlformats.org/officeDocument/2006/relationships/tags" Target="../tags/tag1899.xml"/><Relationship Id="rId1" Type="http://schemas.openxmlformats.org/officeDocument/2006/relationships/tags" Target="../tags/tag1871.xml"/><Relationship Id="rId6" Type="http://schemas.openxmlformats.org/officeDocument/2006/relationships/tags" Target="../tags/tag1876.xml"/><Relationship Id="rId11" Type="http://schemas.openxmlformats.org/officeDocument/2006/relationships/tags" Target="../tags/tag1881.xml"/><Relationship Id="rId24" Type="http://schemas.openxmlformats.org/officeDocument/2006/relationships/tags" Target="../tags/tag1894.xml"/><Relationship Id="rId32" Type="http://schemas.openxmlformats.org/officeDocument/2006/relationships/slide" Target="slide183.xml"/><Relationship Id="rId37" Type="http://schemas.openxmlformats.org/officeDocument/2006/relationships/slide" Target="slide165.xml"/><Relationship Id="rId40" Type="http://schemas.openxmlformats.org/officeDocument/2006/relationships/slide" Target="slide151.xml"/><Relationship Id="rId5" Type="http://schemas.openxmlformats.org/officeDocument/2006/relationships/tags" Target="../tags/tag1875.xml"/><Relationship Id="rId15" Type="http://schemas.openxmlformats.org/officeDocument/2006/relationships/tags" Target="../tags/tag1885.xml"/><Relationship Id="rId23" Type="http://schemas.openxmlformats.org/officeDocument/2006/relationships/tags" Target="../tags/tag1893.xml"/><Relationship Id="rId28" Type="http://schemas.openxmlformats.org/officeDocument/2006/relationships/tags" Target="../tags/tag1898.xml"/><Relationship Id="rId36" Type="http://schemas.openxmlformats.org/officeDocument/2006/relationships/slide" Target="slide167.xml"/><Relationship Id="rId10" Type="http://schemas.openxmlformats.org/officeDocument/2006/relationships/tags" Target="../tags/tag1880.xml"/><Relationship Id="rId19" Type="http://schemas.openxmlformats.org/officeDocument/2006/relationships/tags" Target="../tags/tag188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874.xml"/><Relationship Id="rId9" Type="http://schemas.openxmlformats.org/officeDocument/2006/relationships/tags" Target="../tags/tag1879.xml"/><Relationship Id="rId14" Type="http://schemas.openxmlformats.org/officeDocument/2006/relationships/tags" Target="../tags/tag1884.xml"/><Relationship Id="rId22" Type="http://schemas.openxmlformats.org/officeDocument/2006/relationships/tags" Target="../tags/tag1892.xml"/><Relationship Id="rId27" Type="http://schemas.openxmlformats.org/officeDocument/2006/relationships/tags" Target="../tags/tag1897.xml"/><Relationship Id="rId30" Type="http://schemas.openxmlformats.org/officeDocument/2006/relationships/tags" Target="../tags/tag1900.xml"/><Relationship Id="rId35" Type="http://schemas.openxmlformats.org/officeDocument/2006/relationships/slide" Target="slide169.xml"/><Relationship Id="rId8" Type="http://schemas.openxmlformats.org/officeDocument/2006/relationships/tags" Target="../tags/tag1878.xml"/><Relationship Id="rId3" Type="http://schemas.openxmlformats.org/officeDocument/2006/relationships/tags" Target="../tags/tag1873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7.xml.rels><?xml version="1.0" encoding="UTF-8" standalone="yes"?>
<Relationships xmlns="http://schemas.openxmlformats.org/package/2006/relationships"><Relationship Id="rId13" Type="http://schemas.openxmlformats.org/officeDocument/2006/relationships/tags" Target="../tags/tag1913.xml"/><Relationship Id="rId18" Type="http://schemas.openxmlformats.org/officeDocument/2006/relationships/tags" Target="../tags/tag1918.xml"/><Relationship Id="rId26" Type="http://schemas.openxmlformats.org/officeDocument/2006/relationships/tags" Target="../tags/tag1926.xml"/><Relationship Id="rId39" Type="http://schemas.openxmlformats.org/officeDocument/2006/relationships/slide" Target="slide153.xml"/><Relationship Id="rId21" Type="http://schemas.openxmlformats.org/officeDocument/2006/relationships/tags" Target="../tags/tag1921.xml"/><Relationship Id="rId34" Type="http://schemas.openxmlformats.org/officeDocument/2006/relationships/slide" Target="slide171.xml"/><Relationship Id="rId7" Type="http://schemas.openxmlformats.org/officeDocument/2006/relationships/tags" Target="../tags/tag1907.xml"/><Relationship Id="rId12" Type="http://schemas.openxmlformats.org/officeDocument/2006/relationships/tags" Target="../tags/tag1912.xml"/><Relationship Id="rId17" Type="http://schemas.openxmlformats.org/officeDocument/2006/relationships/tags" Target="../tags/tag1917.xml"/><Relationship Id="rId25" Type="http://schemas.openxmlformats.org/officeDocument/2006/relationships/tags" Target="../tags/tag1925.xml"/><Relationship Id="rId33" Type="http://schemas.openxmlformats.org/officeDocument/2006/relationships/slide" Target="slide173.xml"/><Relationship Id="rId38" Type="http://schemas.openxmlformats.org/officeDocument/2006/relationships/slide" Target="slide163.xml"/><Relationship Id="rId2" Type="http://schemas.openxmlformats.org/officeDocument/2006/relationships/tags" Target="../tags/tag1902.xml"/><Relationship Id="rId16" Type="http://schemas.openxmlformats.org/officeDocument/2006/relationships/tags" Target="../tags/tag1916.xml"/><Relationship Id="rId20" Type="http://schemas.openxmlformats.org/officeDocument/2006/relationships/tags" Target="../tags/tag1920.xml"/><Relationship Id="rId29" Type="http://schemas.openxmlformats.org/officeDocument/2006/relationships/tags" Target="../tags/tag1929.xml"/><Relationship Id="rId1" Type="http://schemas.openxmlformats.org/officeDocument/2006/relationships/tags" Target="../tags/tag1901.xml"/><Relationship Id="rId6" Type="http://schemas.openxmlformats.org/officeDocument/2006/relationships/tags" Target="../tags/tag1906.xml"/><Relationship Id="rId11" Type="http://schemas.openxmlformats.org/officeDocument/2006/relationships/tags" Target="../tags/tag1911.xml"/><Relationship Id="rId24" Type="http://schemas.openxmlformats.org/officeDocument/2006/relationships/tags" Target="../tags/tag1924.xml"/><Relationship Id="rId32" Type="http://schemas.openxmlformats.org/officeDocument/2006/relationships/slide" Target="slide183.xml"/><Relationship Id="rId37" Type="http://schemas.openxmlformats.org/officeDocument/2006/relationships/slide" Target="slide165.xml"/><Relationship Id="rId40" Type="http://schemas.openxmlformats.org/officeDocument/2006/relationships/slide" Target="slide151.xml"/><Relationship Id="rId5" Type="http://schemas.openxmlformats.org/officeDocument/2006/relationships/tags" Target="../tags/tag1905.xml"/><Relationship Id="rId15" Type="http://schemas.openxmlformats.org/officeDocument/2006/relationships/tags" Target="../tags/tag1915.xml"/><Relationship Id="rId23" Type="http://schemas.openxmlformats.org/officeDocument/2006/relationships/tags" Target="../tags/tag1923.xml"/><Relationship Id="rId28" Type="http://schemas.openxmlformats.org/officeDocument/2006/relationships/tags" Target="../tags/tag1928.xml"/><Relationship Id="rId36" Type="http://schemas.openxmlformats.org/officeDocument/2006/relationships/slide" Target="slide167.xml"/><Relationship Id="rId10" Type="http://schemas.openxmlformats.org/officeDocument/2006/relationships/tags" Target="../tags/tag1910.xml"/><Relationship Id="rId19" Type="http://schemas.openxmlformats.org/officeDocument/2006/relationships/tags" Target="../tags/tag191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904.xml"/><Relationship Id="rId9" Type="http://schemas.openxmlformats.org/officeDocument/2006/relationships/tags" Target="../tags/tag1909.xml"/><Relationship Id="rId14" Type="http://schemas.openxmlformats.org/officeDocument/2006/relationships/tags" Target="../tags/tag1914.xml"/><Relationship Id="rId22" Type="http://schemas.openxmlformats.org/officeDocument/2006/relationships/tags" Target="../tags/tag1922.xml"/><Relationship Id="rId27" Type="http://schemas.openxmlformats.org/officeDocument/2006/relationships/tags" Target="../tags/tag1927.xml"/><Relationship Id="rId30" Type="http://schemas.openxmlformats.org/officeDocument/2006/relationships/tags" Target="../tags/tag1930.xml"/><Relationship Id="rId35" Type="http://schemas.openxmlformats.org/officeDocument/2006/relationships/slide" Target="slide169.xml"/><Relationship Id="rId8" Type="http://schemas.openxmlformats.org/officeDocument/2006/relationships/tags" Target="../tags/tag1908.xml"/><Relationship Id="rId3" Type="http://schemas.openxmlformats.org/officeDocument/2006/relationships/tags" Target="../tags/tag1903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9.xml.rels><?xml version="1.0" encoding="UTF-8" standalone="yes"?>
<Relationships xmlns="http://schemas.openxmlformats.org/package/2006/relationships"><Relationship Id="rId13" Type="http://schemas.openxmlformats.org/officeDocument/2006/relationships/tags" Target="../tags/tag1943.xml"/><Relationship Id="rId18" Type="http://schemas.openxmlformats.org/officeDocument/2006/relationships/tags" Target="../tags/tag1948.xml"/><Relationship Id="rId26" Type="http://schemas.openxmlformats.org/officeDocument/2006/relationships/tags" Target="../tags/tag1956.xml"/><Relationship Id="rId39" Type="http://schemas.openxmlformats.org/officeDocument/2006/relationships/slide" Target="slide153.xml"/><Relationship Id="rId21" Type="http://schemas.openxmlformats.org/officeDocument/2006/relationships/tags" Target="../tags/tag1951.xml"/><Relationship Id="rId34" Type="http://schemas.openxmlformats.org/officeDocument/2006/relationships/slide" Target="slide171.xml"/><Relationship Id="rId7" Type="http://schemas.openxmlformats.org/officeDocument/2006/relationships/tags" Target="../tags/tag1937.xml"/><Relationship Id="rId12" Type="http://schemas.openxmlformats.org/officeDocument/2006/relationships/tags" Target="../tags/tag1942.xml"/><Relationship Id="rId17" Type="http://schemas.openxmlformats.org/officeDocument/2006/relationships/tags" Target="../tags/tag1947.xml"/><Relationship Id="rId25" Type="http://schemas.openxmlformats.org/officeDocument/2006/relationships/tags" Target="../tags/tag1955.xml"/><Relationship Id="rId33" Type="http://schemas.openxmlformats.org/officeDocument/2006/relationships/slide" Target="slide173.xml"/><Relationship Id="rId38" Type="http://schemas.openxmlformats.org/officeDocument/2006/relationships/slide" Target="slide163.xml"/><Relationship Id="rId2" Type="http://schemas.openxmlformats.org/officeDocument/2006/relationships/tags" Target="../tags/tag1932.xml"/><Relationship Id="rId16" Type="http://schemas.openxmlformats.org/officeDocument/2006/relationships/tags" Target="../tags/tag1946.xml"/><Relationship Id="rId20" Type="http://schemas.openxmlformats.org/officeDocument/2006/relationships/tags" Target="../tags/tag1950.xml"/><Relationship Id="rId29" Type="http://schemas.openxmlformats.org/officeDocument/2006/relationships/tags" Target="../tags/tag1959.xml"/><Relationship Id="rId1" Type="http://schemas.openxmlformats.org/officeDocument/2006/relationships/tags" Target="../tags/tag1931.xml"/><Relationship Id="rId6" Type="http://schemas.openxmlformats.org/officeDocument/2006/relationships/tags" Target="../tags/tag1936.xml"/><Relationship Id="rId11" Type="http://schemas.openxmlformats.org/officeDocument/2006/relationships/tags" Target="../tags/tag1941.xml"/><Relationship Id="rId24" Type="http://schemas.openxmlformats.org/officeDocument/2006/relationships/tags" Target="../tags/tag1954.xml"/><Relationship Id="rId32" Type="http://schemas.openxmlformats.org/officeDocument/2006/relationships/slide" Target="slide183.xml"/><Relationship Id="rId37" Type="http://schemas.openxmlformats.org/officeDocument/2006/relationships/slide" Target="slide165.xml"/><Relationship Id="rId40" Type="http://schemas.openxmlformats.org/officeDocument/2006/relationships/slide" Target="slide151.xml"/><Relationship Id="rId5" Type="http://schemas.openxmlformats.org/officeDocument/2006/relationships/tags" Target="../tags/tag1935.xml"/><Relationship Id="rId15" Type="http://schemas.openxmlformats.org/officeDocument/2006/relationships/tags" Target="../tags/tag1945.xml"/><Relationship Id="rId23" Type="http://schemas.openxmlformats.org/officeDocument/2006/relationships/tags" Target="../tags/tag1953.xml"/><Relationship Id="rId28" Type="http://schemas.openxmlformats.org/officeDocument/2006/relationships/tags" Target="../tags/tag1958.xml"/><Relationship Id="rId36" Type="http://schemas.openxmlformats.org/officeDocument/2006/relationships/slide" Target="slide167.xml"/><Relationship Id="rId10" Type="http://schemas.openxmlformats.org/officeDocument/2006/relationships/tags" Target="../tags/tag1940.xml"/><Relationship Id="rId19" Type="http://schemas.openxmlformats.org/officeDocument/2006/relationships/tags" Target="../tags/tag194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934.xml"/><Relationship Id="rId9" Type="http://schemas.openxmlformats.org/officeDocument/2006/relationships/tags" Target="../tags/tag1939.xml"/><Relationship Id="rId14" Type="http://schemas.openxmlformats.org/officeDocument/2006/relationships/tags" Target="../tags/tag1944.xml"/><Relationship Id="rId22" Type="http://schemas.openxmlformats.org/officeDocument/2006/relationships/tags" Target="../tags/tag1952.xml"/><Relationship Id="rId27" Type="http://schemas.openxmlformats.org/officeDocument/2006/relationships/tags" Target="../tags/tag1957.xml"/><Relationship Id="rId30" Type="http://schemas.openxmlformats.org/officeDocument/2006/relationships/tags" Target="../tags/tag1960.xml"/><Relationship Id="rId35" Type="http://schemas.openxmlformats.org/officeDocument/2006/relationships/slide" Target="slide169.xml"/><Relationship Id="rId8" Type="http://schemas.openxmlformats.org/officeDocument/2006/relationships/tags" Target="../tags/tag1938.xml"/><Relationship Id="rId3" Type="http://schemas.openxmlformats.org/officeDocument/2006/relationships/tags" Target="../tags/tag193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tags" Target="../tags/tag180.xml"/><Relationship Id="rId18" Type="http://schemas.openxmlformats.org/officeDocument/2006/relationships/tags" Target="../tags/tag185.xml"/><Relationship Id="rId26" Type="http://schemas.openxmlformats.org/officeDocument/2006/relationships/slide" Target="slide23.xml"/><Relationship Id="rId3" Type="http://schemas.openxmlformats.org/officeDocument/2006/relationships/tags" Target="../tags/tag170.xml"/><Relationship Id="rId21" Type="http://schemas.openxmlformats.org/officeDocument/2006/relationships/tags" Target="../tags/tag188.xml"/><Relationship Id="rId7" Type="http://schemas.openxmlformats.org/officeDocument/2006/relationships/tags" Target="../tags/tag174.xml"/><Relationship Id="rId12" Type="http://schemas.openxmlformats.org/officeDocument/2006/relationships/tags" Target="../tags/tag179.xml"/><Relationship Id="rId17" Type="http://schemas.openxmlformats.org/officeDocument/2006/relationships/tags" Target="../tags/tag184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169.xml"/><Relationship Id="rId16" Type="http://schemas.openxmlformats.org/officeDocument/2006/relationships/tags" Target="../tags/tag183.xml"/><Relationship Id="rId20" Type="http://schemas.openxmlformats.org/officeDocument/2006/relationships/tags" Target="../tags/tag187.xml"/><Relationship Id="rId29" Type="http://schemas.openxmlformats.org/officeDocument/2006/relationships/slide" Target="slide17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24" Type="http://schemas.openxmlformats.org/officeDocument/2006/relationships/tags" Target="../tags/tag191.xml"/><Relationship Id="rId32" Type="http://schemas.openxmlformats.org/officeDocument/2006/relationships/slide" Target="slide11.xml"/><Relationship Id="rId5" Type="http://schemas.openxmlformats.org/officeDocument/2006/relationships/tags" Target="../tags/tag172.xml"/><Relationship Id="rId15" Type="http://schemas.openxmlformats.org/officeDocument/2006/relationships/tags" Target="../tags/tag182.xml"/><Relationship Id="rId23" Type="http://schemas.openxmlformats.org/officeDocument/2006/relationships/tags" Target="../tags/tag190.xml"/><Relationship Id="rId28" Type="http://schemas.openxmlformats.org/officeDocument/2006/relationships/slide" Target="slide19.xml"/><Relationship Id="rId10" Type="http://schemas.openxmlformats.org/officeDocument/2006/relationships/tags" Target="../tags/tag177.xml"/><Relationship Id="rId19" Type="http://schemas.openxmlformats.org/officeDocument/2006/relationships/tags" Target="../tags/tag186.xml"/><Relationship Id="rId31" Type="http://schemas.openxmlformats.org/officeDocument/2006/relationships/slide" Target="slide13.xml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tags" Target="../tags/tag181.xml"/><Relationship Id="rId22" Type="http://schemas.openxmlformats.org/officeDocument/2006/relationships/tags" Target="../tags/tag189.xml"/><Relationship Id="rId27" Type="http://schemas.openxmlformats.org/officeDocument/2006/relationships/slide" Target="slide21.xml"/><Relationship Id="rId30" Type="http://schemas.openxmlformats.org/officeDocument/2006/relationships/slide" Target="slide15.xml"/></Relationships>
</file>

<file path=ppt/slides/_rels/slide1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1.xml.rels><?xml version="1.0" encoding="UTF-8" standalone="yes"?>
<Relationships xmlns="http://schemas.openxmlformats.org/package/2006/relationships"><Relationship Id="rId13" Type="http://schemas.openxmlformats.org/officeDocument/2006/relationships/tags" Target="../tags/tag1973.xml"/><Relationship Id="rId18" Type="http://schemas.openxmlformats.org/officeDocument/2006/relationships/tags" Target="../tags/tag1978.xml"/><Relationship Id="rId26" Type="http://schemas.openxmlformats.org/officeDocument/2006/relationships/tags" Target="../tags/tag1986.xml"/><Relationship Id="rId39" Type="http://schemas.openxmlformats.org/officeDocument/2006/relationships/slide" Target="slide153.xml"/><Relationship Id="rId21" Type="http://schemas.openxmlformats.org/officeDocument/2006/relationships/tags" Target="../tags/tag1981.xml"/><Relationship Id="rId34" Type="http://schemas.openxmlformats.org/officeDocument/2006/relationships/slide" Target="slide171.xml"/><Relationship Id="rId7" Type="http://schemas.openxmlformats.org/officeDocument/2006/relationships/tags" Target="../tags/tag1967.xml"/><Relationship Id="rId12" Type="http://schemas.openxmlformats.org/officeDocument/2006/relationships/tags" Target="../tags/tag1972.xml"/><Relationship Id="rId17" Type="http://schemas.openxmlformats.org/officeDocument/2006/relationships/tags" Target="../tags/tag1977.xml"/><Relationship Id="rId25" Type="http://schemas.openxmlformats.org/officeDocument/2006/relationships/tags" Target="../tags/tag1985.xml"/><Relationship Id="rId33" Type="http://schemas.openxmlformats.org/officeDocument/2006/relationships/slide" Target="slide173.xml"/><Relationship Id="rId38" Type="http://schemas.openxmlformats.org/officeDocument/2006/relationships/slide" Target="slide163.xml"/><Relationship Id="rId2" Type="http://schemas.openxmlformats.org/officeDocument/2006/relationships/tags" Target="../tags/tag1962.xml"/><Relationship Id="rId16" Type="http://schemas.openxmlformats.org/officeDocument/2006/relationships/tags" Target="../tags/tag1976.xml"/><Relationship Id="rId20" Type="http://schemas.openxmlformats.org/officeDocument/2006/relationships/tags" Target="../tags/tag1980.xml"/><Relationship Id="rId29" Type="http://schemas.openxmlformats.org/officeDocument/2006/relationships/tags" Target="../tags/tag1989.xml"/><Relationship Id="rId1" Type="http://schemas.openxmlformats.org/officeDocument/2006/relationships/tags" Target="../tags/tag1961.xml"/><Relationship Id="rId6" Type="http://schemas.openxmlformats.org/officeDocument/2006/relationships/tags" Target="../tags/tag1966.xml"/><Relationship Id="rId11" Type="http://schemas.openxmlformats.org/officeDocument/2006/relationships/tags" Target="../tags/tag1971.xml"/><Relationship Id="rId24" Type="http://schemas.openxmlformats.org/officeDocument/2006/relationships/tags" Target="../tags/tag1984.xml"/><Relationship Id="rId32" Type="http://schemas.openxmlformats.org/officeDocument/2006/relationships/slide" Target="slide183.xml"/><Relationship Id="rId37" Type="http://schemas.openxmlformats.org/officeDocument/2006/relationships/slide" Target="slide165.xml"/><Relationship Id="rId40" Type="http://schemas.openxmlformats.org/officeDocument/2006/relationships/slide" Target="slide151.xml"/><Relationship Id="rId5" Type="http://schemas.openxmlformats.org/officeDocument/2006/relationships/tags" Target="../tags/tag1965.xml"/><Relationship Id="rId15" Type="http://schemas.openxmlformats.org/officeDocument/2006/relationships/tags" Target="../tags/tag1975.xml"/><Relationship Id="rId23" Type="http://schemas.openxmlformats.org/officeDocument/2006/relationships/tags" Target="../tags/tag1983.xml"/><Relationship Id="rId28" Type="http://schemas.openxmlformats.org/officeDocument/2006/relationships/tags" Target="../tags/tag1988.xml"/><Relationship Id="rId36" Type="http://schemas.openxmlformats.org/officeDocument/2006/relationships/slide" Target="slide167.xml"/><Relationship Id="rId10" Type="http://schemas.openxmlformats.org/officeDocument/2006/relationships/tags" Target="../tags/tag1970.xml"/><Relationship Id="rId19" Type="http://schemas.openxmlformats.org/officeDocument/2006/relationships/tags" Target="../tags/tag197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964.xml"/><Relationship Id="rId9" Type="http://schemas.openxmlformats.org/officeDocument/2006/relationships/tags" Target="../tags/tag1969.xml"/><Relationship Id="rId14" Type="http://schemas.openxmlformats.org/officeDocument/2006/relationships/tags" Target="../tags/tag1974.xml"/><Relationship Id="rId22" Type="http://schemas.openxmlformats.org/officeDocument/2006/relationships/tags" Target="../tags/tag1982.xml"/><Relationship Id="rId27" Type="http://schemas.openxmlformats.org/officeDocument/2006/relationships/tags" Target="../tags/tag1987.xml"/><Relationship Id="rId30" Type="http://schemas.openxmlformats.org/officeDocument/2006/relationships/tags" Target="../tags/tag1990.xml"/><Relationship Id="rId35" Type="http://schemas.openxmlformats.org/officeDocument/2006/relationships/slide" Target="slide169.xml"/><Relationship Id="rId8" Type="http://schemas.openxmlformats.org/officeDocument/2006/relationships/tags" Target="../tags/tag1968.xml"/><Relationship Id="rId3" Type="http://schemas.openxmlformats.org/officeDocument/2006/relationships/tags" Target="../tags/tag1963.xml"/></Relationships>
</file>

<file path=ppt/slides/_rels/slide1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3.xml.rels><?xml version="1.0" encoding="UTF-8" standalone="yes"?>
<Relationships xmlns="http://schemas.openxmlformats.org/package/2006/relationships"><Relationship Id="rId13" Type="http://schemas.openxmlformats.org/officeDocument/2006/relationships/tags" Target="../tags/tag2003.xml"/><Relationship Id="rId18" Type="http://schemas.openxmlformats.org/officeDocument/2006/relationships/tags" Target="../tags/tag2008.xml"/><Relationship Id="rId26" Type="http://schemas.openxmlformats.org/officeDocument/2006/relationships/tags" Target="../tags/tag2016.xml"/><Relationship Id="rId39" Type="http://schemas.openxmlformats.org/officeDocument/2006/relationships/slide" Target="slide153.xml"/><Relationship Id="rId21" Type="http://schemas.openxmlformats.org/officeDocument/2006/relationships/tags" Target="../tags/tag2011.xml"/><Relationship Id="rId34" Type="http://schemas.openxmlformats.org/officeDocument/2006/relationships/slide" Target="slide179.xml"/><Relationship Id="rId7" Type="http://schemas.openxmlformats.org/officeDocument/2006/relationships/tags" Target="../tags/tag1997.xml"/><Relationship Id="rId12" Type="http://schemas.openxmlformats.org/officeDocument/2006/relationships/tags" Target="../tags/tag2002.xml"/><Relationship Id="rId17" Type="http://schemas.openxmlformats.org/officeDocument/2006/relationships/tags" Target="../tags/tag2007.xml"/><Relationship Id="rId25" Type="http://schemas.openxmlformats.org/officeDocument/2006/relationships/tags" Target="../tags/tag2015.xml"/><Relationship Id="rId33" Type="http://schemas.openxmlformats.org/officeDocument/2006/relationships/slide" Target="slide181.xml"/><Relationship Id="rId38" Type="http://schemas.openxmlformats.org/officeDocument/2006/relationships/slide" Target="slide163.xml"/><Relationship Id="rId2" Type="http://schemas.openxmlformats.org/officeDocument/2006/relationships/tags" Target="../tags/tag1992.xml"/><Relationship Id="rId16" Type="http://schemas.openxmlformats.org/officeDocument/2006/relationships/tags" Target="../tags/tag2006.xml"/><Relationship Id="rId20" Type="http://schemas.openxmlformats.org/officeDocument/2006/relationships/tags" Target="../tags/tag2010.xml"/><Relationship Id="rId29" Type="http://schemas.openxmlformats.org/officeDocument/2006/relationships/tags" Target="../tags/tag2019.xml"/><Relationship Id="rId1" Type="http://schemas.openxmlformats.org/officeDocument/2006/relationships/tags" Target="../tags/tag1991.xml"/><Relationship Id="rId6" Type="http://schemas.openxmlformats.org/officeDocument/2006/relationships/tags" Target="../tags/tag1996.xml"/><Relationship Id="rId11" Type="http://schemas.openxmlformats.org/officeDocument/2006/relationships/tags" Target="../tags/tag2001.xml"/><Relationship Id="rId24" Type="http://schemas.openxmlformats.org/officeDocument/2006/relationships/tags" Target="../tags/tag2014.xml"/><Relationship Id="rId32" Type="http://schemas.openxmlformats.org/officeDocument/2006/relationships/slide" Target="slide183.xml"/><Relationship Id="rId37" Type="http://schemas.openxmlformats.org/officeDocument/2006/relationships/slide" Target="slide173.xml"/><Relationship Id="rId40" Type="http://schemas.openxmlformats.org/officeDocument/2006/relationships/slide" Target="slide151.xml"/><Relationship Id="rId5" Type="http://schemas.openxmlformats.org/officeDocument/2006/relationships/tags" Target="../tags/tag1995.xml"/><Relationship Id="rId15" Type="http://schemas.openxmlformats.org/officeDocument/2006/relationships/tags" Target="../tags/tag2005.xml"/><Relationship Id="rId23" Type="http://schemas.openxmlformats.org/officeDocument/2006/relationships/tags" Target="../tags/tag2013.xml"/><Relationship Id="rId28" Type="http://schemas.openxmlformats.org/officeDocument/2006/relationships/tags" Target="../tags/tag2018.xml"/><Relationship Id="rId36" Type="http://schemas.openxmlformats.org/officeDocument/2006/relationships/slide" Target="slide175.xml"/><Relationship Id="rId10" Type="http://schemas.openxmlformats.org/officeDocument/2006/relationships/tags" Target="../tags/tag2000.xml"/><Relationship Id="rId19" Type="http://schemas.openxmlformats.org/officeDocument/2006/relationships/tags" Target="../tags/tag200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994.xml"/><Relationship Id="rId9" Type="http://schemas.openxmlformats.org/officeDocument/2006/relationships/tags" Target="../tags/tag1999.xml"/><Relationship Id="rId14" Type="http://schemas.openxmlformats.org/officeDocument/2006/relationships/tags" Target="../tags/tag2004.xml"/><Relationship Id="rId22" Type="http://schemas.openxmlformats.org/officeDocument/2006/relationships/tags" Target="../tags/tag2012.xml"/><Relationship Id="rId27" Type="http://schemas.openxmlformats.org/officeDocument/2006/relationships/tags" Target="../tags/tag2017.xml"/><Relationship Id="rId30" Type="http://schemas.openxmlformats.org/officeDocument/2006/relationships/tags" Target="../tags/tag2020.xml"/><Relationship Id="rId35" Type="http://schemas.openxmlformats.org/officeDocument/2006/relationships/slide" Target="slide177.xml"/><Relationship Id="rId8" Type="http://schemas.openxmlformats.org/officeDocument/2006/relationships/tags" Target="../tags/tag1998.xml"/><Relationship Id="rId3" Type="http://schemas.openxmlformats.org/officeDocument/2006/relationships/tags" Target="../tags/tag1993.xml"/></Relationships>
</file>

<file path=ppt/slides/_rels/slide1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5.xml.rels><?xml version="1.0" encoding="UTF-8" standalone="yes"?>
<Relationships xmlns="http://schemas.openxmlformats.org/package/2006/relationships"><Relationship Id="rId13" Type="http://schemas.openxmlformats.org/officeDocument/2006/relationships/tags" Target="../tags/tag2033.xml"/><Relationship Id="rId18" Type="http://schemas.openxmlformats.org/officeDocument/2006/relationships/tags" Target="../tags/tag2038.xml"/><Relationship Id="rId26" Type="http://schemas.openxmlformats.org/officeDocument/2006/relationships/tags" Target="../tags/tag2046.xml"/><Relationship Id="rId39" Type="http://schemas.openxmlformats.org/officeDocument/2006/relationships/slide" Target="slide153.xml"/><Relationship Id="rId21" Type="http://schemas.openxmlformats.org/officeDocument/2006/relationships/tags" Target="../tags/tag2041.xml"/><Relationship Id="rId34" Type="http://schemas.openxmlformats.org/officeDocument/2006/relationships/slide" Target="slide179.xml"/><Relationship Id="rId7" Type="http://schemas.openxmlformats.org/officeDocument/2006/relationships/tags" Target="../tags/tag2027.xml"/><Relationship Id="rId12" Type="http://schemas.openxmlformats.org/officeDocument/2006/relationships/tags" Target="../tags/tag2032.xml"/><Relationship Id="rId17" Type="http://schemas.openxmlformats.org/officeDocument/2006/relationships/tags" Target="../tags/tag2037.xml"/><Relationship Id="rId25" Type="http://schemas.openxmlformats.org/officeDocument/2006/relationships/tags" Target="../tags/tag2045.xml"/><Relationship Id="rId33" Type="http://schemas.openxmlformats.org/officeDocument/2006/relationships/slide" Target="slide181.xml"/><Relationship Id="rId38" Type="http://schemas.openxmlformats.org/officeDocument/2006/relationships/slide" Target="slide163.xml"/><Relationship Id="rId2" Type="http://schemas.openxmlformats.org/officeDocument/2006/relationships/tags" Target="../tags/tag2022.xml"/><Relationship Id="rId16" Type="http://schemas.openxmlformats.org/officeDocument/2006/relationships/tags" Target="../tags/tag2036.xml"/><Relationship Id="rId20" Type="http://schemas.openxmlformats.org/officeDocument/2006/relationships/tags" Target="../tags/tag2040.xml"/><Relationship Id="rId29" Type="http://schemas.openxmlformats.org/officeDocument/2006/relationships/tags" Target="../tags/tag2049.xml"/><Relationship Id="rId1" Type="http://schemas.openxmlformats.org/officeDocument/2006/relationships/tags" Target="../tags/tag2021.xml"/><Relationship Id="rId6" Type="http://schemas.openxmlformats.org/officeDocument/2006/relationships/tags" Target="../tags/tag2026.xml"/><Relationship Id="rId11" Type="http://schemas.openxmlformats.org/officeDocument/2006/relationships/tags" Target="../tags/tag2031.xml"/><Relationship Id="rId24" Type="http://schemas.openxmlformats.org/officeDocument/2006/relationships/tags" Target="../tags/tag2044.xml"/><Relationship Id="rId32" Type="http://schemas.openxmlformats.org/officeDocument/2006/relationships/slide" Target="slide183.xml"/><Relationship Id="rId37" Type="http://schemas.openxmlformats.org/officeDocument/2006/relationships/slide" Target="slide173.xml"/><Relationship Id="rId40" Type="http://schemas.openxmlformats.org/officeDocument/2006/relationships/slide" Target="slide151.xml"/><Relationship Id="rId5" Type="http://schemas.openxmlformats.org/officeDocument/2006/relationships/tags" Target="../tags/tag2025.xml"/><Relationship Id="rId15" Type="http://schemas.openxmlformats.org/officeDocument/2006/relationships/tags" Target="../tags/tag2035.xml"/><Relationship Id="rId23" Type="http://schemas.openxmlformats.org/officeDocument/2006/relationships/tags" Target="../tags/tag2043.xml"/><Relationship Id="rId28" Type="http://schemas.openxmlformats.org/officeDocument/2006/relationships/tags" Target="../tags/tag2048.xml"/><Relationship Id="rId36" Type="http://schemas.openxmlformats.org/officeDocument/2006/relationships/slide" Target="slide175.xml"/><Relationship Id="rId10" Type="http://schemas.openxmlformats.org/officeDocument/2006/relationships/tags" Target="../tags/tag2030.xml"/><Relationship Id="rId19" Type="http://schemas.openxmlformats.org/officeDocument/2006/relationships/tags" Target="../tags/tag203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2024.xml"/><Relationship Id="rId9" Type="http://schemas.openxmlformats.org/officeDocument/2006/relationships/tags" Target="../tags/tag2029.xml"/><Relationship Id="rId14" Type="http://schemas.openxmlformats.org/officeDocument/2006/relationships/tags" Target="../tags/tag2034.xml"/><Relationship Id="rId22" Type="http://schemas.openxmlformats.org/officeDocument/2006/relationships/tags" Target="../tags/tag2042.xml"/><Relationship Id="rId27" Type="http://schemas.openxmlformats.org/officeDocument/2006/relationships/tags" Target="../tags/tag2047.xml"/><Relationship Id="rId30" Type="http://schemas.openxmlformats.org/officeDocument/2006/relationships/tags" Target="../tags/tag2050.xml"/><Relationship Id="rId35" Type="http://schemas.openxmlformats.org/officeDocument/2006/relationships/slide" Target="slide177.xml"/><Relationship Id="rId8" Type="http://schemas.openxmlformats.org/officeDocument/2006/relationships/tags" Target="../tags/tag2028.xml"/><Relationship Id="rId3" Type="http://schemas.openxmlformats.org/officeDocument/2006/relationships/tags" Target="../tags/tag2023.xml"/></Relationships>
</file>

<file path=ppt/slides/_rels/slide1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7.xml.rels><?xml version="1.0" encoding="UTF-8" standalone="yes"?>
<Relationships xmlns="http://schemas.openxmlformats.org/package/2006/relationships"><Relationship Id="rId13" Type="http://schemas.openxmlformats.org/officeDocument/2006/relationships/tags" Target="../tags/tag2063.xml"/><Relationship Id="rId18" Type="http://schemas.openxmlformats.org/officeDocument/2006/relationships/tags" Target="../tags/tag2068.xml"/><Relationship Id="rId26" Type="http://schemas.openxmlformats.org/officeDocument/2006/relationships/tags" Target="../tags/tag2076.xml"/><Relationship Id="rId39" Type="http://schemas.openxmlformats.org/officeDocument/2006/relationships/slide" Target="slide153.xml"/><Relationship Id="rId21" Type="http://schemas.openxmlformats.org/officeDocument/2006/relationships/tags" Target="../tags/tag2071.xml"/><Relationship Id="rId34" Type="http://schemas.openxmlformats.org/officeDocument/2006/relationships/slide" Target="slide179.xml"/><Relationship Id="rId7" Type="http://schemas.openxmlformats.org/officeDocument/2006/relationships/tags" Target="../tags/tag2057.xml"/><Relationship Id="rId12" Type="http://schemas.openxmlformats.org/officeDocument/2006/relationships/tags" Target="../tags/tag2062.xml"/><Relationship Id="rId17" Type="http://schemas.openxmlformats.org/officeDocument/2006/relationships/tags" Target="../tags/tag2067.xml"/><Relationship Id="rId25" Type="http://schemas.openxmlformats.org/officeDocument/2006/relationships/tags" Target="../tags/tag2075.xml"/><Relationship Id="rId33" Type="http://schemas.openxmlformats.org/officeDocument/2006/relationships/slide" Target="slide181.xml"/><Relationship Id="rId38" Type="http://schemas.openxmlformats.org/officeDocument/2006/relationships/slide" Target="slide163.xml"/><Relationship Id="rId2" Type="http://schemas.openxmlformats.org/officeDocument/2006/relationships/tags" Target="../tags/tag2052.xml"/><Relationship Id="rId16" Type="http://schemas.openxmlformats.org/officeDocument/2006/relationships/tags" Target="../tags/tag2066.xml"/><Relationship Id="rId20" Type="http://schemas.openxmlformats.org/officeDocument/2006/relationships/tags" Target="../tags/tag2070.xml"/><Relationship Id="rId29" Type="http://schemas.openxmlformats.org/officeDocument/2006/relationships/tags" Target="../tags/tag2079.xml"/><Relationship Id="rId1" Type="http://schemas.openxmlformats.org/officeDocument/2006/relationships/tags" Target="../tags/tag2051.xml"/><Relationship Id="rId6" Type="http://schemas.openxmlformats.org/officeDocument/2006/relationships/tags" Target="../tags/tag2056.xml"/><Relationship Id="rId11" Type="http://schemas.openxmlformats.org/officeDocument/2006/relationships/tags" Target="../tags/tag2061.xml"/><Relationship Id="rId24" Type="http://schemas.openxmlformats.org/officeDocument/2006/relationships/tags" Target="../tags/tag2074.xml"/><Relationship Id="rId32" Type="http://schemas.openxmlformats.org/officeDocument/2006/relationships/slide" Target="slide183.xml"/><Relationship Id="rId37" Type="http://schemas.openxmlformats.org/officeDocument/2006/relationships/slide" Target="slide173.xml"/><Relationship Id="rId40" Type="http://schemas.openxmlformats.org/officeDocument/2006/relationships/slide" Target="slide151.xml"/><Relationship Id="rId5" Type="http://schemas.openxmlformats.org/officeDocument/2006/relationships/tags" Target="../tags/tag2055.xml"/><Relationship Id="rId15" Type="http://schemas.openxmlformats.org/officeDocument/2006/relationships/tags" Target="../tags/tag2065.xml"/><Relationship Id="rId23" Type="http://schemas.openxmlformats.org/officeDocument/2006/relationships/tags" Target="../tags/tag2073.xml"/><Relationship Id="rId28" Type="http://schemas.openxmlformats.org/officeDocument/2006/relationships/tags" Target="../tags/tag2078.xml"/><Relationship Id="rId36" Type="http://schemas.openxmlformats.org/officeDocument/2006/relationships/slide" Target="slide175.xml"/><Relationship Id="rId10" Type="http://schemas.openxmlformats.org/officeDocument/2006/relationships/tags" Target="../tags/tag2060.xml"/><Relationship Id="rId19" Type="http://schemas.openxmlformats.org/officeDocument/2006/relationships/tags" Target="../tags/tag206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2054.xml"/><Relationship Id="rId9" Type="http://schemas.openxmlformats.org/officeDocument/2006/relationships/tags" Target="../tags/tag2059.xml"/><Relationship Id="rId14" Type="http://schemas.openxmlformats.org/officeDocument/2006/relationships/tags" Target="../tags/tag2064.xml"/><Relationship Id="rId22" Type="http://schemas.openxmlformats.org/officeDocument/2006/relationships/tags" Target="../tags/tag2072.xml"/><Relationship Id="rId27" Type="http://schemas.openxmlformats.org/officeDocument/2006/relationships/tags" Target="../tags/tag2077.xml"/><Relationship Id="rId30" Type="http://schemas.openxmlformats.org/officeDocument/2006/relationships/tags" Target="../tags/tag2080.xml"/><Relationship Id="rId35" Type="http://schemas.openxmlformats.org/officeDocument/2006/relationships/slide" Target="slide177.xml"/><Relationship Id="rId8" Type="http://schemas.openxmlformats.org/officeDocument/2006/relationships/tags" Target="../tags/tag2058.xml"/><Relationship Id="rId3" Type="http://schemas.openxmlformats.org/officeDocument/2006/relationships/tags" Target="../tags/tag2053.xml"/></Relationships>
</file>

<file path=ppt/slides/_rels/slide1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9.xml.rels><?xml version="1.0" encoding="UTF-8" standalone="yes"?>
<Relationships xmlns="http://schemas.openxmlformats.org/package/2006/relationships"><Relationship Id="rId13" Type="http://schemas.openxmlformats.org/officeDocument/2006/relationships/tags" Target="../tags/tag2093.xml"/><Relationship Id="rId18" Type="http://schemas.openxmlformats.org/officeDocument/2006/relationships/tags" Target="../tags/tag2098.xml"/><Relationship Id="rId26" Type="http://schemas.openxmlformats.org/officeDocument/2006/relationships/tags" Target="../tags/tag2106.xml"/><Relationship Id="rId39" Type="http://schemas.openxmlformats.org/officeDocument/2006/relationships/slide" Target="slide153.xml"/><Relationship Id="rId21" Type="http://schemas.openxmlformats.org/officeDocument/2006/relationships/tags" Target="../tags/tag2101.xml"/><Relationship Id="rId34" Type="http://schemas.openxmlformats.org/officeDocument/2006/relationships/slide" Target="slide179.xml"/><Relationship Id="rId7" Type="http://schemas.openxmlformats.org/officeDocument/2006/relationships/tags" Target="../tags/tag2087.xml"/><Relationship Id="rId12" Type="http://schemas.openxmlformats.org/officeDocument/2006/relationships/tags" Target="../tags/tag2092.xml"/><Relationship Id="rId17" Type="http://schemas.openxmlformats.org/officeDocument/2006/relationships/tags" Target="../tags/tag2097.xml"/><Relationship Id="rId25" Type="http://schemas.openxmlformats.org/officeDocument/2006/relationships/tags" Target="../tags/tag2105.xml"/><Relationship Id="rId33" Type="http://schemas.openxmlformats.org/officeDocument/2006/relationships/slide" Target="slide181.xml"/><Relationship Id="rId38" Type="http://schemas.openxmlformats.org/officeDocument/2006/relationships/slide" Target="slide163.xml"/><Relationship Id="rId2" Type="http://schemas.openxmlformats.org/officeDocument/2006/relationships/tags" Target="../tags/tag2082.xml"/><Relationship Id="rId16" Type="http://schemas.openxmlformats.org/officeDocument/2006/relationships/tags" Target="../tags/tag2096.xml"/><Relationship Id="rId20" Type="http://schemas.openxmlformats.org/officeDocument/2006/relationships/tags" Target="../tags/tag2100.xml"/><Relationship Id="rId29" Type="http://schemas.openxmlformats.org/officeDocument/2006/relationships/tags" Target="../tags/tag2109.xml"/><Relationship Id="rId1" Type="http://schemas.openxmlformats.org/officeDocument/2006/relationships/tags" Target="../tags/tag2081.xml"/><Relationship Id="rId6" Type="http://schemas.openxmlformats.org/officeDocument/2006/relationships/tags" Target="../tags/tag2086.xml"/><Relationship Id="rId11" Type="http://schemas.openxmlformats.org/officeDocument/2006/relationships/tags" Target="../tags/tag2091.xml"/><Relationship Id="rId24" Type="http://schemas.openxmlformats.org/officeDocument/2006/relationships/tags" Target="../tags/tag2104.xml"/><Relationship Id="rId32" Type="http://schemas.openxmlformats.org/officeDocument/2006/relationships/slide" Target="slide183.xml"/><Relationship Id="rId37" Type="http://schemas.openxmlformats.org/officeDocument/2006/relationships/slide" Target="slide173.xml"/><Relationship Id="rId40" Type="http://schemas.openxmlformats.org/officeDocument/2006/relationships/slide" Target="slide151.xml"/><Relationship Id="rId5" Type="http://schemas.openxmlformats.org/officeDocument/2006/relationships/tags" Target="../tags/tag2085.xml"/><Relationship Id="rId15" Type="http://schemas.openxmlformats.org/officeDocument/2006/relationships/tags" Target="../tags/tag2095.xml"/><Relationship Id="rId23" Type="http://schemas.openxmlformats.org/officeDocument/2006/relationships/tags" Target="../tags/tag2103.xml"/><Relationship Id="rId28" Type="http://schemas.openxmlformats.org/officeDocument/2006/relationships/tags" Target="../tags/tag2108.xml"/><Relationship Id="rId36" Type="http://schemas.openxmlformats.org/officeDocument/2006/relationships/slide" Target="slide175.xml"/><Relationship Id="rId10" Type="http://schemas.openxmlformats.org/officeDocument/2006/relationships/tags" Target="../tags/tag2090.xml"/><Relationship Id="rId19" Type="http://schemas.openxmlformats.org/officeDocument/2006/relationships/tags" Target="../tags/tag209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2084.xml"/><Relationship Id="rId9" Type="http://schemas.openxmlformats.org/officeDocument/2006/relationships/tags" Target="../tags/tag2089.xml"/><Relationship Id="rId14" Type="http://schemas.openxmlformats.org/officeDocument/2006/relationships/tags" Target="../tags/tag2094.xml"/><Relationship Id="rId22" Type="http://schemas.openxmlformats.org/officeDocument/2006/relationships/tags" Target="../tags/tag2102.xml"/><Relationship Id="rId27" Type="http://schemas.openxmlformats.org/officeDocument/2006/relationships/tags" Target="../tags/tag2107.xml"/><Relationship Id="rId30" Type="http://schemas.openxmlformats.org/officeDocument/2006/relationships/tags" Target="../tags/tag2110.xml"/><Relationship Id="rId35" Type="http://schemas.openxmlformats.org/officeDocument/2006/relationships/slide" Target="slide177.xml"/><Relationship Id="rId8" Type="http://schemas.openxmlformats.org/officeDocument/2006/relationships/tags" Target="../tags/tag2088.xml"/><Relationship Id="rId3" Type="http://schemas.openxmlformats.org/officeDocument/2006/relationships/tags" Target="../tags/tag208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2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1.xml.rels><?xml version="1.0" encoding="UTF-8" standalone="yes"?>
<Relationships xmlns="http://schemas.openxmlformats.org/package/2006/relationships"><Relationship Id="rId13" Type="http://schemas.openxmlformats.org/officeDocument/2006/relationships/tags" Target="../tags/tag2123.xml"/><Relationship Id="rId18" Type="http://schemas.openxmlformats.org/officeDocument/2006/relationships/tags" Target="../tags/tag2128.xml"/><Relationship Id="rId26" Type="http://schemas.openxmlformats.org/officeDocument/2006/relationships/tags" Target="../tags/tag2136.xml"/><Relationship Id="rId39" Type="http://schemas.openxmlformats.org/officeDocument/2006/relationships/slide" Target="slide153.xml"/><Relationship Id="rId21" Type="http://schemas.openxmlformats.org/officeDocument/2006/relationships/tags" Target="../tags/tag2131.xml"/><Relationship Id="rId34" Type="http://schemas.openxmlformats.org/officeDocument/2006/relationships/slide" Target="slide179.xml"/><Relationship Id="rId7" Type="http://schemas.openxmlformats.org/officeDocument/2006/relationships/tags" Target="../tags/tag2117.xml"/><Relationship Id="rId12" Type="http://schemas.openxmlformats.org/officeDocument/2006/relationships/tags" Target="../tags/tag2122.xml"/><Relationship Id="rId17" Type="http://schemas.openxmlformats.org/officeDocument/2006/relationships/tags" Target="../tags/tag2127.xml"/><Relationship Id="rId25" Type="http://schemas.openxmlformats.org/officeDocument/2006/relationships/tags" Target="../tags/tag2135.xml"/><Relationship Id="rId33" Type="http://schemas.openxmlformats.org/officeDocument/2006/relationships/slide" Target="slide181.xml"/><Relationship Id="rId38" Type="http://schemas.openxmlformats.org/officeDocument/2006/relationships/slide" Target="slide163.xml"/><Relationship Id="rId2" Type="http://schemas.openxmlformats.org/officeDocument/2006/relationships/tags" Target="../tags/tag2112.xml"/><Relationship Id="rId16" Type="http://schemas.openxmlformats.org/officeDocument/2006/relationships/tags" Target="../tags/tag2126.xml"/><Relationship Id="rId20" Type="http://schemas.openxmlformats.org/officeDocument/2006/relationships/tags" Target="../tags/tag2130.xml"/><Relationship Id="rId29" Type="http://schemas.openxmlformats.org/officeDocument/2006/relationships/tags" Target="../tags/tag2139.xml"/><Relationship Id="rId1" Type="http://schemas.openxmlformats.org/officeDocument/2006/relationships/tags" Target="../tags/tag2111.xml"/><Relationship Id="rId6" Type="http://schemas.openxmlformats.org/officeDocument/2006/relationships/tags" Target="../tags/tag2116.xml"/><Relationship Id="rId11" Type="http://schemas.openxmlformats.org/officeDocument/2006/relationships/tags" Target="../tags/tag2121.xml"/><Relationship Id="rId24" Type="http://schemas.openxmlformats.org/officeDocument/2006/relationships/tags" Target="../tags/tag2134.xml"/><Relationship Id="rId32" Type="http://schemas.openxmlformats.org/officeDocument/2006/relationships/slide" Target="slide183.xml"/><Relationship Id="rId37" Type="http://schemas.openxmlformats.org/officeDocument/2006/relationships/slide" Target="slide173.xml"/><Relationship Id="rId40" Type="http://schemas.openxmlformats.org/officeDocument/2006/relationships/slide" Target="slide151.xml"/><Relationship Id="rId5" Type="http://schemas.openxmlformats.org/officeDocument/2006/relationships/tags" Target="../tags/tag2115.xml"/><Relationship Id="rId15" Type="http://schemas.openxmlformats.org/officeDocument/2006/relationships/tags" Target="../tags/tag2125.xml"/><Relationship Id="rId23" Type="http://schemas.openxmlformats.org/officeDocument/2006/relationships/tags" Target="../tags/tag2133.xml"/><Relationship Id="rId28" Type="http://schemas.openxmlformats.org/officeDocument/2006/relationships/tags" Target="../tags/tag2138.xml"/><Relationship Id="rId36" Type="http://schemas.openxmlformats.org/officeDocument/2006/relationships/slide" Target="slide175.xml"/><Relationship Id="rId10" Type="http://schemas.openxmlformats.org/officeDocument/2006/relationships/tags" Target="../tags/tag2120.xml"/><Relationship Id="rId19" Type="http://schemas.openxmlformats.org/officeDocument/2006/relationships/tags" Target="../tags/tag212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2114.xml"/><Relationship Id="rId9" Type="http://schemas.openxmlformats.org/officeDocument/2006/relationships/tags" Target="../tags/tag2119.xml"/><Relationship Id="rId14" Type="http://schemas.openxmlformats.org/officeDocument/2006/relationships/tags" Target="../tags/tag2124.xml"/><Relationship Id="rId22" Type="http://schemas.openxmlformats.org/officeDocument/2006/relationships/tags" Target="../tags/tag2132.xml"/><Relationship Id="rId27" Type="http://schemas.openxmlformats.org/officeDocument/2006/relationships/tags" Target="../tags/tag2137.xml"/><Relationship Id="rId30" Type="http://schemas.openxmlformats.org/officeDocument/2006/relationships/tags" Target="../tags/tag2140.xml"/><Relationship Id="rId35" Type="http://schemas.openxmlformats.org/officeDocument/2006/relationships/slide" Target="slide177.xml"/><Relationship Id="rId8" Type="http://schemas.openxmlformats.org/officeDocument/2006/relationships/tags" Target="../tags/tag2118.xml"/><Relationship Id="rId3" Type="http://schemas.openxmlformats.org/officeDocument/2006/relationships/tags" Target="../tags/tag2113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3.xml.rels><?xml version="1.0" encoding="UTF-8" standalone="yes"?>
<Relationships xmlns="http://schemas.openxmlformats.org/package/2006/relationships"><Relationship Id="rId8" Type="http://schemas.openxmlformats.org/officeDocument/2006/relationships/tags" Target="../tags/tag2148.xml"/><Relationship Id="rId13" Type="http://schemas.openxmlformats.org/officeDocument/2006/relationships/tags" Target="../tags/tag2153.xml"/><Relationship Id="rId18" Type="http://schemas.openxmlformats.org/officeDocument/2006/relationships/tags" Target="../tags/tag2158.xml"/><Relationship Id="rId3" Type="http://schemas.openxmlformats.org/officeDocument/2006/relationships/tags" Target="../tags/tag2143.xml"/><Relationship Id="rId21" Type="http://schemas.openxmlformats.org/officeDocument/2006/relationships/slide" Target="slide173.xml"/><Relationship Id="rId7" Type="http://schemas.openxmlformats.org/officeDocument/2006/relationships/tags" Target="../tags/tag2147.xml"/><Relationship Id="rId12" Type="http://schemas.openxmlformats.org/officeDocument/2006/relationships/tags" Target="../tags/tag2152.xml"/><Relationship Id="rId17" Type="http://schemas.openxmlformats.org/officeDocument/2006/relationships/tags" Target="../tags/tag2157.xml"/><Relationship Id="rId2" Type="http://schemas.openxmlformats.org/officeDocument/2006/relationships/tags" Target="../tags/tag2142.xml"/><Relationship Id="rId16" Type="http://schemas.openxmlformats.org/officeDocument/2006/relationships/tags" Target="../tags/tag2156.xml"/><Relationship Id="rId20" Type="http://schemas.openxmlformats.org/officeDocument/2006/relationships/slide" Target="slide183.xml"/><Relationship Id="rId1" Type="http://schemas.openxmlformats.org/officeDocument/2006/relationships/tags" Target="../tags/tag2141.xml"/><Relationship Id="rId6" Type="http://schemas.openxmlformats.org/officeDocument/2006/relationships/tags" Target="../tags/tag2146.xml"/><Relationship Id="rId11" Type="http://schemas.openxmlformats.org/officeDocument/2006/relationships/tags" Target="../tags/tag2151.xml"/><Relationship Id="rId24" Type="http://schemas.openxmlformats.org/officeDocument/2006/relationships/slide" Target="slide151.xml"/><Relationship Id="rId5" Type="http://schemas.openxmlformats.org/officeDocument/2006/relationships/tags" Target="../tags/tag2145.xml"/><Relationship Id="rId15" Type="http://schemas.openxmlformats.org/officeDocument/2006/relationships/tags" Target="../tags/tag2155.xml"/><Relationship Id="rId23" Type="http://schemas.openxmlformats.org/officeDocument/2006/relationships/slide" Target="slide153.xml"/><Relationship Id="rId10" Type="http://schemas.openxmlformats.org/officeDocument/2006/relationships/tags" Target="../tags/tag2150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2144.xml"/><Relationship Id="rId9" Type="http://schemas.openxmlformats.org/officeDocument/2006/relationships/tags" Target="../tags/tag2149.xml"/><Relationship Id="rId14" Type="http://schemas.openxmlformats.org/officeDocument/2006/relationships/tags" Target="../tags/tag2154.xml"/><Relationship Id="rId22" Type="http://schemas.openxmlformats.org/officeDocument/2006/relationships/slide" Target="slide163.xml"/></Relationships>
</file>

<file path=ppt/slides/_rels/slide1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5.xml.rels><?xml version="1.0" encoding="UTF-8" standalone="yes"?>
<Relationships xmlns="http://schemas.openxmlformats.org/package/2006/relationships"><Relationship Id="rId13" Type="http://schemas.openxmlformats.org/officeDocument/2006/relationships/tags" Target="../tags/tag2171.xml"/><Relationship Id="rId18" Type="http://schemas.openxmlformats.org/officeDocument/2006/relationships/tags" Target="../tags/tag2176.xml"/><Relationship Id="rId26" Type="http://schemas.openxmlformats.org/officeDocument/2006/relationships/tags" Target="../tags/tag2184.xml"/><Relationship Id="rId39" Type="http://schemas.openxmlformats.org/officeDocument/2006/relationships/slide" Target="slide5.xml"/><Relationship Id="rId21" Type="http://schemas.openxmlformats.org/officeDocument/2006/relationships/tags" Target="../tags/tag2179.xml"/><Relationship Id="rId34" Type="http://schemas.openxmlformats.org/officeDocument/2006/relationships/slide" Target="slide125.xml"/><Relationship Id="rId7" Type="http://schemas.openxmlformats.org/officeDocument/2006/relationships/tags" Target="../tags/tag2165.xml"/><Relationship Id="rId12" Type="http://schemas.openxmlformats.org/officeDocument/2006/relationships/tags" Target="../tags/tag2170.xml"/><Relationship Id="rId17" Type="http://schemas.openxmlformats.org/officeDocument/2006/relationships/tags" Target="../tags/tag2175.xml"/><Relationship Id="rId25" Type="http://schemas.openxmlformats.org/officeDocument/2006/relationships/tags" Target="../tags/tag2183.xml"/><Relationship Id="rId33" Type="http://schemas.openxmlformats.org/officeDocument/2006/relationships/slide" Target="slide149.xml"/><Relationship Id="rId38" Type="http://schemas.openxmlformats.org/officeDocument/2006/relationships/slide" Target="slide9.xml"/><Relationship Id="rId2" Type="http://schemas.openxmlformats.org/officeDocument/2006/relationships/tags" Target="../tags/tag2160.xml"/><Relationship Id="rId16" Type="http://schemas.openxmlformats.org/officeDocument/2006/relationships/tags" Target="../tags/tag2174.xml"/><Relationship Id="rId20" Type="http://schemas.openxmlformats.org/officeDocument/2006/relationships/tags" Target="../tags/tag2178.xml"/><Relationship Id="rId29" Type="http://schemas.openxmlformats.org/officeDocument/2006/relationships/slideLayout" Target="../slideLayouts/slideLayout6.xml"/><Relationship Id="rId1" Type="http://schemas.openxmlformats.org/officeDocument/2006/relationships/tags" Target="../tags/tag2159.xml"/><Relationship Id="rId6" Type="http://schemas.openxmlformats.org/officeDocument/2006/relationships/tags" Target="../tags/tag2164.xml"/><Relationship Id="rId11" Type="http://schemas.openxmlformats.org/officeDocument/2006/relationships/tags" Target="../tags/tag2169.xml"/><Relationship Id="rId24" Type="http://schemas.openxmlformats.org/officeDocument/2006/relationships/tags" Target="../tags/tag2182.xml"/><Relationship Id="rId32" Type="http://schemas.openxmlformats.org/officeDocument/2006/relationships/slide" Target="slide185.xml"/><Relationship Id="rId37" Type="http://schemas.openxmlformats.org/officeDocument/2006/relationships/slide" Target="slide25.xml"/><Relationship Id="rId5" Type="http://schemas.openxmlformats.org/officeDocument/2006/relationships/tags" Target="../tags/tag2163.xml"/><Relationship Id="rId15" Type="http://schemas.openxmlformats.org/officeDocument/2006/relationships/tags" Target="../tags/tag2173.xml"/><Relationship Id="rId23" Type="http://schemas.openxmlformats.org/officeDocument/2006/relationships/tags" Target="../tags/tag2181.xml"/><Relationship Id="rId28" Type="http://schemas.openxmlformats.org/officeDocument/2006/relationships/tags" Target="../tags/tag2186.xml"/><Relationship Id="rId36" Type="http://schemas.openxmlformats.org/officeDocument/2006/relationships/slide" Target="slide55.xml"/><Relationship Id="rId10" Type="http://schemas.openxmlformats.org/officeDocument/2006/relationships/tags" Target="../tags/tag2168.xml"/><Relationship Id="rId19" Type="http://schemas.openxmlformats.org/officeDocument/2006/relationships/tags" Target="../tags/tag2177.xml"/><Relationship Id="rId31" Type="http://schemas.openxmlformats.org/officeDocument/2006/relationships/image" Target="../media/image1.emf"/><Relationship Id="rId4" Type="http://schemas.openxmlformats.org/officeDocument/2006/relationships/tags" Target="../tags/tag2162.xml"/><Relationship Id="rId9" Type="http://schemas.openxmlformats.org/officeDocument/2006/relationships/tags" Target="../tags/tag2167.xml"/><Relationship Id="rId14" Type="http://schemas.openxmlformats.org/officeDocument/2006/relationships/tags" Target="../tags/tag2172.xml"/><Relationship Id="rId22" Type="http://schemas.openxmlformats.org/officeDocument/2006/relationships/tags" Target="../tags/tag2180.xml"/><Relationship Id="rId27" Type="http://schemas.openxmlformats.org/officeDocument/2006/relationships/tags" Target="../tags/tag2185.xml"/><Relationship Id="rId30" Type="http://schemas.openxmlformats.org/officeDocument/2006/relationships/oleObject" Target="../embeddings/oleObject48.bin"/><Relationship Id="rId35" Type="http://schemas.openxmlformats.org/officeDocument/2006/relationships/slide" Target="slide95.xml"/><Relationship Id="rId8" Type="http://schemas.openxmlformats.org/officeDocument/2006/relationships/tags" Target="../tags/tag2166.xml"/><Relationship Id="rId3" Type="http://schemas.openxmlformats.org/officeDocument/2006/relationships/tags" Target="../tags/tag2161.xml"/></Relationships>
</file>

<file path=ppt/slides/_rels/slide1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7.xml.rels><?xml version="1.0" encoding="UTF-8" standalone="yes"?>
<Relationships xmlns="http://schemas.openxmlformats.org/package/2006/relationships"><Relationship Id="rId13" Type="http://schemas.openxmlformats.org/officeDocument/2006/relationships/tags" Target="../tags/tag2199.xml"/><Relationship Id="rId18" Type="http://schemas.openxmlformats.org/officeDocument/2006/relationships/tags" Target="../tags/tag2204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2189.xml"/><Relationship Id="rId21" Type="http://schemas.openxmlformats.org/officeDocument/2006/relationships/tags" Target="../tags/tag2207.xml"/><Relationship Id="rId34" Type="http://schemas.openxmlformats.org/officeDocument/2006/relationships/slide" Target="slide189.xml"/><Relationship Id="rId7" Type="http://schemas.openxmlformats.org/officeDocument/2006/relationships/tags" Target="../tags/tag2193.xml"/><Relationship Id="rId12" Type="http://schemas.openxmlformats.org/officeDocument/2006/relationships/tags" Target="../tags/tag2198.xml"/><Relationship Id="rId17" Type="http://schemas.openxmlformats.org/officeDocument/2006/relationships/tags" Target="../tags/tag2203.xml"/><Relationship Id="rId25" Type="http://schemas.openxmlformats.org/officeDocument/2006/relationships/tags" Target="../tags/tag2211.xml"/><Relationship Id="rId33" Type="http://schemas.openxmlformats.org/officeDocument/2006/relationships/slide" Target="slide191.xml"/><Relationship Id="rId2" Type="http://schemas.openxmlformats.org/officeDocument/2006/relationships/tags" Target="../tags/tag2188.xml"/><Relationship Id="rId16" Type="http://schemas.openxmlformats.org/officeDocument/2006/relationships/tags" Target="../tags/tag2202.xml"/><Relationship Id="rId20" Type="http://schemas.openxmlformats.org/officeDocument/2006/relationships/tags" Target="../tags/tag2206.xml"/><Relationship Id="rId29" Type="http://schemas.openxmlformats.org/officeDocument/2006/relationships/slide" Target="slide199.xml"/><Relationship Id="rId1" Type="http://schemas.openxmlformats.org/officeDocument/2006/relationships/tags" Target="../tags/tag2187.xml"/><Relationship Id="rId6" Type="http://schemas.openxmlformats.org/officeDocument/2006/relationships/tags" Target="../tags/tag2192.xml"/><Relationship Id="rId11" Type="http://schemas.openxmlformats.org/officeDocument/2006/relationships/tags" Target="../tags/tag2197.xml"/><Relationship Id="rId24" Type="http://schemas.openxmlformats.org/officeDocument/2006/relationships/tags" Target="../tags/tag2210.xml"/><Relationship Id="rId32" Type="http://schemas.openxmlformats.org/officeDocument/2006/relationships/slide" Target="slide193.xml"/><Relationship Id="rId5" Type="http://schemas.openxmlformats.org/officeDocument/2006/relationships/tags" Target="../tags/tag2191.xml"/><Relationship Id="rId15" Type="http://schemas.openxmlformats.org/officeDocument/2006/relationships/tags" Target="../tags/tag2201.xml"/><Relationship Id="rId23" Type="http://schemas.openxmlformats.org/officeDocument/2006/relationships/tags" Target="../tags/tag2209.xml"/><Relationship Id="rId28" Type="http://schemas.openxmlformats.org/officeDocument/2006/relationships/image" Target="../media/image1.emf"/><Relationship Id="rId10" Type="http://schemas.openxmlformats.org/officeDocument/2006/relationships/tags" Target="../tags/tag2196.xml"/><Relationship Id="rId19" Type="http://schemas.openxmlformats.org/officeDocument/2006/relationships/tags" Target="../tags/tag2205.xml"/><Relationship Id="rId31" Type="http://schemas.openxmlformats.org/officeDocument/2006/relationships/slide" Target="slide195.xml"/><Relationship Id="rId4" Type="http://schemas.openxmlformats.org/officeDocument/2006/relationships/tags" Target="../tags/tag2190.xml"/><Relationship Id="rId9" Type="http://schemas.openxmlformats.org/officeDocument/2006/relationships/tags" Target="../tags/tag2195.xml"/><Relationship Id="rId14" Type="http://schemas.openxmlformats.org/officeDocument/2006/relationships/tags" Target="../tags/tag2200.xml"/><Relationship Id="rId22" Type="http://schemas.openxmlformats.org/officeDocument/2006/relationships/tags" Target="../tags/tag2208.xml"/><Relationship Id="rId27" Type="http://schemas.openxmlformats.org/officeDocument/2006/relationships/oleObject" Target="../embeddings/oleObject49.bin"/><Relationship Id="rId30" Type="http://schemas.openxmlformats.org/officeDocument/2006/relationships/slide" Target="slide197.xml"/><Relationship Id="rId35" Type="http://schemas.openxmlformats.org/officeDocument/2006/relationships/slide" Target="slide187.xml"/><Relationship Id="rId8" Type="http://schemas.openxmlformats.org/officeDocument/2006/relationships/tags" Target="../tags/tag2194.xml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9.xml.rels><?xml version="1.0" encoding="UTF-8" standalone="yes"?>
<Relationships xmlns="http://schemas.openxmlformats.org/package/2006/relationships"><Relationship Id="rId8" Type="http://schemas.openxmlformats.org/officeDocument/2006/relationships/tags" Target="../tags/tag2219.xml"/><Relationship Id="rId13" Type="http://schemas.openxmlformats.org/officeDocument/2006/relationships/tags" Target="../tags/tag2224.xml"/><Relationship Id="rId18" Type="http://schemas.openxmlformats.org/officeDocument/2006/relationships/tags" Target="../tags/tag2229.xml"/><Relationship Id="rId26" Type="http://schemas.openxmlformats.org/officeDocument/2006/relationships/slide" Target="slide199.xml"/><Relationship Id="rId3" Type="http://schemas.openxmlformats.org/officeDocument/2006/relationships/tags" Target="../tags/tag2214.xml"/><Relationship Id="rId21" Type="http://schemas.openxmlformats.org/officeDocument/2006/relationships/tags" Target="../tags/tag2232.xml"/><Relationship Id="rId7" Type="http://schemas.openxmlformats.org/officeDocument/2006/relationships/tags" Target="../tags/tag2218.xml"/><Relationship Id="rId12" Type="http://schemas.openxmlformats.org/officeDocument/2006/relationships/tags" Target="../tags/tag2223.xml"/><Relationship Id="rId17" Type="http://schemas.openxmlformats.org/officeDocument/2006/relationships/tags" Target="../tags/tag2228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2213.xml"/><Relationship Id="rId16" Type="http://schemas.openxmlformats.org/officeDocument/2006/relationships/tags" Target="../tags/tag2227.xml"/><Relationship Id="rId20" Type="http://schemas.openxmlformats.org/officeDocument/2006/relationships/tags" Target="../tags/tag2231.xml"/><Relationship Id="rId29" Type="http://schemas.openxmlformats.org/officeDocument/2006/relationships/slide" Target="slide193.xml"/><Relationship Id="rId1" Type="http://schemas.openxmlformats.org/officeDocument/2006/relationships/tags" Target="../tags/tag2212.xml"/><Relationship Id="rId6" Type="http://schemas.openxmlformats.org/officeDocument/2006/relationships/tags" Target="../tags/tag2217.xml"/><Relationship Id="rId11" Type="http://schemas.openxmlformats.org/officeDocument/2006/relationships/tags" Target="../tags/tag2222.xml"/><Relationship Id="rId24" Type="http://schemas.openxmlformats.org/officeDocument/2006/relationships/tags" Target="../tags/tag2235.xml"/><Relationship Id="rId32" Type="http://schemas.openxmlformats.org/officeDocument/2006/relationships/slide" Target="slide187.xml"/><Relationship Id="rId5" Type="http://schemas.openxmlformats.org/officeDocument/2006/relationships/tags" Target="../tags/tag2216.xml"/><Relationship Id="rId15" Type="http://schemas.openxmlformats.org/officeDocument/2006/relationships/tags" Target="../tags/tag2226.xml"/><Relationship Id="rId23" Type="http://schemas.openxmlformats.org/officeDocument/2006/relationships/tags" Target="../tags/tag2234.xml"/><Relationship Id="rId28" Type="http://schemas.openxmlformats.org/officeDocument/2006/relationships/slide" Target="slide195.xml"/><Relationship Id="rId10" Type="http://schemas.openxmlformats.org/officeDocument/2006/relationships/tags" Target="../tags/tag2221.xml"/><Relationship Id="rId19" Type="http://schemas.openxmlformats.org/officeDocument/2006/relationships/tags" Target="../tags/tag2230.xml"/><Relationship Id="rId31" Type="http://schemas.openxmlformats.org/officeDocument/2006/relationships/slide" Target="slide189.xml"/><Relationship Id="rId4" Type="http://schemas.openxmlformats.org/officeDocument/2006/relationships/tags" Target="../tags/tag2215.xml"/><Relationship Id="rId9" Type="http://schemas.openxmlformats.org/officeDocument/2006/relationships/tags" Target="../tags/tag2220.xml"/><Relationship Id="rId14" Type="http://schemas.openxmlformats.org/officeDocument/2006/relationships/tags" Target="../tags/tag2225.xml"/><Relationship Id="rId22" Type="http://schemas.openxmlformats.org/officeDocument/2006/relationships/tags" Target="../tags/tag2233.xml"/><Relationship Id="rId27" Type="http://schemas.openxmlformats.org/officeDocument/2006/relationships/slide" Target="slide197.xml"/><Relationship Id="rId30" Type="http://schemas.openxmlformats.org/officeDocument/2006/relationships/slide" Target="slide191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205.xml"/><Relationship Id="rId18" Type="http://schemas.openxmlformats.org/officeDocument/2006/relationships/tags" Target="../tags/tag210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195.xml"/><Relationship Id="rId21" Type="http://schemas.openxmlformats.org/officeDocument/2006/relationships/tags" Target="../tags/tag213.xml"/><Relationship Id="rId34" Type="http://schemas.openxmlformats.org/officeDocument/2006/relationships/oleObject" Target="../embeddings/oleObject16.bin"/><Relationship Id="rId7" Type="http://schemas.openxmlformats.org/officeDocument/2006/relationships/tags" Target="../tags/tag199.xml"/><Relationship Id="rId12" Type="http://schemas.openxmlformats.org/officeDocument/2006/relationships/tags" Target="../tags/tag204.xml"/><Relationship Id="rId17" Type="http://schemas.openxmlformats.org/officeDocument/2006/relationships/tags" Target="../tags/tag209.xml"/><Relationship Id="rId25" Type="http://schemas.openxmlformats.org/officeDocument/2006/relationships/tags" Target="../tags/tag217.xml"/><Relationship Id="rId33" Type="http://schemas.openxmlformats.org/officeDocument/2006/relationships/slide" Target="slide11.xml"/><Relationship Id="rId2" Type="http://schemas.openxmlformats.org/officeDocument/2006/relationships/tags" Target="../tags/tag194.xml"/><Relationship Id="rId16" Type="http://schemas.openxmlformats.org/officeDocument/2006/relationships/tags" Target="../tags/tag208.xml"/><Relationship Id="rId20" Type="http://schemas.openxmlformats.org/officeDocument/2006/relationships/tags" Target="../tags/tag212.xml"/><Relationship Id="rId29" Type="http://schemas.openxmlformats.org/officeDocument/2006/relationships/slide" Target="slide19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24" Type="http://schemas.openxmlformats.org/officeDocument/2006/relationships/tags" Target="../tags/tag216.xml"/><Relationship Id="rId32" Type="http://schemas.openxmlformats.org/officeDocument/2006/relationships/slide" Target="slide13.xml"/><Relationship Id="rId5" Type="http://schemas.openxmlformats.org/officeDocument/2006/relationships/tags" Target="../tags/tag197.xml"/><Relationship Id="rId15" Type="http://schemas.openxmlformats.org/officeDocument/2006/relationships/tags" Target="../tags/tag207.xml"/><Relationship Id="rId23" Type="http://schemas.openxmlformats.org/officeDocument/2006/relationships/tags" Target="../tags/tag215.xml"/><Relationship Id="rId28" Type="http://schemas.openxmlformats.org/officeDocument/2006/relationships/slide" Target="slide21.xml"/><Relationship Id="rId10" Type="http://schemas.openxmlformats.org/officeDocument/2006/relationships/tags" Target="../tags/tag202.xml"/><Relationship Id="rId19" Type="http://schemas.openxmlformats.org/officeDocument/2006/relationships/tags" Target="../tags/tag211.xml"/><Relationship Id="rId31" Type="http://schemas.openxmlformats.org/officeDocument/2006/relationships/slide" Target="slide15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tags" Target="../tags/tag206.xml"/><Relationship Id="rId22" Type="http://schemas.openxmlformats.org/officeDocument/2006/relationships/tags" Target="../tags/tag214.xml"/><Relationship Id="rId27" Type="http://schemas.openxmlformats.org/officeDocument/2006/relationships/slide" Target="slide23.xml"/><Relationship Id="rId30" Type="http://schemas.openxmlformats.org/officeDocument/2006/relationships/slide" Target="slide17.xml"/><Relationship Id="rId35" Type="http://schemas.openxmlformats.org/officeDocument/2006/relationships/image" Target="../media/image1.emf"/><Relationship Id="rId8" Type="http://schemas.openxmlformats.org/officeDocument/2006/relationships/tags" Target="../tags/tag200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1.xml.rels><?xml version="1.0" encoding="UTF-8" standalone="yes"?>
<Relationships xmlns="http://schemas.openxmlformats.org/package/2006/relationships"><Relationship Id="rId8" Type="http://schemas.openxmlformats.org/officeDocument/2006/relationships/tags" Target="../tags/tag2243.xml"/><Relationship Id="rId13" Type="http://schemas.openxmlformats.org/officeDocument/2006/relationships/tags" Target="../tags/tag2248.xml"/><Relationship Id="rId18" Type="http://schemas.openxmlformats.org/officeDocument/2006/relationships/tags" Target="../tags/tag2253.xml"/><Relationship Id="rId26" Type="http://schemas.openxmlformats.org/officeDocument/2006/relationships/slide" Target="slide199.xml"/><Relationship Id="rId3" Type="http://schemas.openxmlformats.org/officeDocument/2006/relationships/tags" Target="../tags/tag2238.xml"/><Relationship Id="rId21" Type="http://schemas.openxmlformats.org/officeDocument/2006/relationships/tags" Target="../tags/tag2256.xml"/><Relationship Id="rId7" Type="http://schemas.openxmlformats.org/officeDocument/2006/relationships/tags" Target="../tags/tag2242.xml"/><Relationship Id="rId12" Type="http://schemas.openxmlformats.org/officeDocument/2006/relationships/tags" Target="../tags/tag2247.xml"/><Relationship Id="rId17" Type="http://schemas.openxmlformats.org/officeDocument/2006/relationships/tags" Target="../tags/tag2252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2237.xml"/><Relationship Id="rId16" Type="http://schemas.openxmlformats.org/officeDocument/2006/relationships/tags" Target="../tags/tag2251.xml"/><Relationship Id="rId20" Type="http://schemas.openxmlformats.org/officeDocument/2006/relationships/tags" Target="../tags/tag2255.xml"/><Relationship Id="rId29" Type="http://schemas.openxmlformats.org/officeDocument/2006/relationships/slide" Target="slide193.xml"/><Relationship Id="rId1" Type="http://schemas.openxmlformats.org/officeDocument/2006/relationships/tags" Target="../tags/tag2236.xml"/><Relationship Id="rId6" Type="http://schemas.openxmlformats.org/officeDocument/2006/relationships/tags" Target="../tags/tag2241.xml"/><Relationship Id="rId11" Type="http://schemas.openxmlformats.org/officeDocument/2006/relationships/tags" Target="../tags/tag2246.xml"/><Relationship Id="rId24" Type="http://schemas.openxmlformats.org/officeDocument/2006/relationships/tags" Target="../tags/tag2259.xml"/><Relationship Id="rId32" Type="http://schemas.openxmlformats.org/officeDocument/2006/relationships/slide" Target="slide187.xml"/><Relationship Id="rId5" Type="http://schemas.openxmlformats.org/officeDocument/2006/relationships/tags" Target="../tags/tag2240.xml"/><Relationship Id="rId15" Type="http://schemas.openxmlformats.org/officeDocument/2006/relationships/tags" Target="../tags/tag2250.xml"/><Relationship Id="rId23" Type="http://schemas.openxmlformats.org/officeDocument/2006/relationships/tags" Target="../tags/tag2258.xml"/><Relationship Id="rId28" Type="http://schemas.openxmlformats.org/officeDocument/2006/relationships/slide" Target="slide195.xml"/><Relationship Id="rId10" Type="http://schemas.openxmlformats.org/officeDocument/2006/relationships/tags" Target="../tags/tag2245.xml"/><Relationship Id="rId19" Type="http://schemas.openxmlformats.org/officeDocument/2006/relationships/tags" Target="../tags/tag2254.xml"/><Relationship Id="rId31" Type="http://schemas.openxmlformats.org/officeDocument/2006/relationships/slide" Target="slide189.xml"/><Relationship Id="rId4" Type="http://schemas.openxmlformats.org/officeDocument/2006/relationships/tags" Target="../tags/tag2239.xml"/><Relationship Id="rId9" Type="http://schemas.openxmlformats.org/officeDocument/2006/relationships/tags" Target="../tags/tag2244.xml"/><Relationship Id="rId14" Type="http://schemas.openxmlformats.org/officeDocument/2006/relationships/tags" Target="../tags/tag2249.xml"/><Relationship Id="rId22" Type="http://schemas.openxmlformats.org/officeDocument/2006/relationships/tags" Target="../tags/tag2257.xml"/><Relationship Id="rId27" Type="http://schemas.openxmlformats.org/officeDocument/2006/relationships/slide" Target="slide197.xml"/><Relationship Id="rId30" Type="http://schemas.openxmlformats.org/officeDocument/2006/relationships/slide" Target="slide191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3.xml.rels><?xml version="1.0" encoding="UTF-8" standalone="yes"?>
<Relationships xmlns="http://schemas.openxmlformats.org/package/2006/relationships"><Relationship Id="rId8" Type="http://schemas.openxmlformats.org/officeDocument/2006/relationships/tags" Target="../tags/tag2267.xml"/><Relationship Id="rId13" Type="http://schemas.openxmlformats.org/officeDocument/2006/relationships/tags" Target="../tags/tag2272.xml"/><Relationship Id="rId18" Type="http://schemas.openxmlformats.org/officeDocument/2006/relationships/tags" Target="../tags/tag2277.xml"/><Relationship Id="rId26" Type="http://schemas.openxmlformats.org/officeDocument/2006/relationships/slide" Target="slide199.xml"/><Relationship Id="rId3" Type="http://schemas.openxmlformats.org/officeDocument/2006/relationships/tags" Target="../tags/tag2262.xml"/><Relationship Id="rId21" Type="http://schemas.openxmlformats.org/officeDocument/2006/relationships/tags" Target="../tags/tag2280.xml"/><Relationship Id="rId7" Type="http://schemas.openxmlformats.org/officeDocument/2006/relationships/tags" Target="../tags/tag2266.xml"/><Relationship Id="rId12" Type="http://schemas.openxmlformats.org/officeDocument/2006/relationships/tags" Target="../tags/tag2271.xml"/><Relationship Id="rId17" Type="http://schemas.openxmlformats.org/officeDocument/2006/relationships/tags" Target="../tags/tag2276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2261.xml"/><Relationship Id="rId16" Type="http://schemas.openxmlformats.org/officeDocument/2006/relationships/tags" Target="../tags/tag2275.xml"/><Relationship Id="rId20" Type="http://schemas.openxmlformats.org/officeDocument/2006/relationships/tags" Target="../tags/tag2279.xml"/><Relationship Id="rId29" Type="http://schemas.openxmlformats.org/officeDocument/2006/relationships/slide" Target="slide193.xml"/><Relationship Id="rId1" Type="http://schemas.openxmlformats.org/officeDocument/2006/relationships/tags" Target="../tags/tag2260.xml"/><Relationship Id="rId6" Type="http://schemas.openxmlformats.org/officeDocument/2006/relationships/tags" Target="../tags/tag2265.xml"/><Relationship Id="rId11" Type="http://schemas.openxmlformats.org/officeDocument/2006/relationships/tags" Target="../tags/tag2270.xml"/><Relationship Id="rId24" Type="http://schemas.openxmlformats.org/officeDocument/2006/relationships/tags" Target="../tags/tag2283.xml"/><Relationship Id="rId32" Type="http://schemas.openxmlformats.org/officeDocument/2006/relationships/slide" Target="slide187.xml"/><Relationship Id="rId5" Type="http://schemas.openxmlformats.org/officeDocument/2006/relationships/tags" Target="../tags/tag2264.xml"/><Relationship Id="rId15" Type="http://schemas.openxmlformats.org/officeDocument/2006/relationships/tags" Target="../tags/tag2274.xml"/><Relationship Id="rId23" Type="http://schemas.openxmlformats.org/officeDocument/2006/relationships/tags" Target="../tags/tag2282.xml"/><Relationship Id="rId28" Type="http://schemas.openxmlformats.org/officeDocument/2006/relationships/slide" Target="slide195.xml"/><Relationship Id="rId10" Type="http://schemas.openxmlformats.org/officeDocument/2006/relationships/tags" Target="../tags/tag2269.xml"/><Relationship Id="rId19" Type="http://schemas.openxmlformats.org/officeDocument/2006/relationships/tags" Target="../tags/tag2278.xml"/><Relationship Id="rId31" Type="http://schemas.openxmlformats.org/officeDocument/2006/relationships/slide" Target="slide189.xml"/><Relationship Id="rId4" Type="http://schemas.openxmlformats.org/officeDocument/2006/relationships/tags" Target="../tags/tag2263.xml"/><Relationship Id="rId9" Type="http://schemas.openxmlformats.org/officeDocument/2006/relationships/tags" Target="../tags/tag2268.xml"/><Relationship Id="rId14" Type="http://schemas.openxmlformats.org/officeDocument/2006/relationships/tags" Target="../tags/tag2273.xml"/><Relationship Id="rId22" Type="http://schemas.openxmlformats.org/officeDocument/2006/relationships/tags" Target="../tags/tag2281.xml"/><Relationship Id="rId27" Type="http://schemas.openxmlformats.org/officeDocument/2006/relationships/slide" Target="slide197.xml"/><Relationship Id="rId30" Type="http://schemas.openxmlformats.org/officeDocument/2006/relationships/slide" Target="slide191.xml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5.xml.rels><?xml version="1.0" encoding="UTF-8" standalone="yes"?>
<Relationships xmlns="http://schemas.openxmlformats.org/package/2006/relationships"><Relationship Id="rId8" Type="http://schemas.openxmlformats.org/officeDocument/2006/relationships/tags" Target="../tags/tag2291.xml"/><Relationship Id="rId13" Type="http://schemas.openxmlformats.org/officeDocument/2006/relationships/tags" Target="../tags/tag2296.xml"/><Relationship Id="rId18" Type="http://schemas.openxmlformats.org/officeDocument/2006/relationships/tags" Target="../tags/tag2301.xml"/><Relationship Id="rId26" Type="http://schemas.openxmlformats.org/officeDocument/2006/relationships/slide" Target="slide199.xml"/><Relationship Id="rId3" Type="http://schemas.openxmlformats.org/officeDocument/2006/relationships/tags" Target="../tags/tag2286.xml"/><Relationship Id="rId21" Type="http://schemas.openxmlformats.org/officeDocument/2006/relationships/tags" Target="../tags/tag2304.xml"/><Relationship Id="rId7" Type="http://schemas.openxmlformats.org/officeDocument/2006/relationships/tags" Target="../tags/tag2290.xml"/><Relationship Id="rId12" Type="http://schemas.openxmlformats.org/officeDocument/2006/relationships/tags" Target="../tags/tag2295.xml"/><Relationship Id="rId17" Type="http://schemas.openxmlformats.org/officeDocument/2006/relationships/tags" Target="../tags/tag2300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2285.xml"/><Relationship Id="rId16" Type="http://schemas.openxmlformats.org/officeDocument/2006/relationships/tags" Target="../tags/tag2299.xml"/><Relationship Id="rId20" Type="http://schemas.openxmlformats.org/officeDocument/2006/relationships/tags" Target="../tags/tag2303.xml"/><Relationship Id="rId29" Type="http://schemas.openxmlformats.org/officeDocument/2006/relationships/slide" Target="slide193.xml"/><Relationship Id="rId1" Type="http://schemas.openxmlformats.org/officeDocument/2006/relationships/tags" Target="../tags/tag2284.xml"/><Relationship Id="rId6" Type="http://schemas.openxmlformats.org/officeDocument/2006/relationships/tags" Target="../tags/tag2289.xml"/><Relationship Id="rId11" Type="http://schemas.openxmlformats.org/officeDocument/2006/relationships/tags" Target="../tags/tag2294.xml"/><Relationship Id="rId24" Type="http://schemas.openxmlformats.org/officeDocument/2006/relationships/tags" Target="../tags/tag2307.xml"/><Relationship Id="rId32" Type="http://schemas.openxmlformats.org/officeDocument/2006/relationships/slide" Target="slide187.xml"/><Relationship Id="rId5" Type="http://schemas.openxmlformats.org/officeDocument/2006/relationships/tags" Target="../tags/tag2288.xml"/><Relationship Id="rId15" Type="http://schemas.openxmlformats.org/officeDocument/2006/relationships/tags" Target="../tags/tag2298.xml"/><Relationship Id="rId23" Type="http://schemas.openxmlformats.org/officeDocument/2006/relationships/tags" Target="../tags/tag2306.xml"/><Relationship Id="rId28" Type="http://schemas.openxmlformats.org/officeDocument/2006/relationships/slide" Target="slide195.xml"/><Relationship Id="rId10" Type="http://schemas.openxmlformats.org/officeDocument/2006/relationships/tags" Target="../tags/tag2293.xml"/><Relationship Id="rId19" Type="http://schemas.openxmlformats.org/officeDocument/2006/relationships/tags" Target="../tags/tag2302.xml"/><Relationship Id="rId31" Type="http://schemas.openxmlformats.org/officeDocument/2006/relationships/slide" Target="slide189.xml"/><Relationship Id="rId4" Type="http://schemas.openxmlformats.org/officeDocument/2006/relationships/tags" Target="../tags/tag2287.xml"/><Relationship Id="rId9" Type="http://schemas.openxmlformats.org/officeDocument/2006/relationships/tags" Target="../tags/tag2292.xml"/><Relationship Id="rId14" Type="http://schemas.openxmlformats.org/officeDocument/2006/relationships/tags" Target="../tags/tag2297.xml"/><Relationship Id="rId22" Type="http://schemas.openxmlformats.org/officeDocument/2006/relationships/tags" Target="../tags/tag2305.xml"/><Relationship Id="rId27" Type="http://schemas.openxmlformats.org/officeDocument/2006/relationships/slide" Target="slide197.xml"/><Relationship Id="rId30" Type="http://schemas.openxmlformats.org/officeDocument/2006/relationships/slide" Target="slide191.xml"/></Relationships>
</file>

<file path=ppt/slides/_rels/slide1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7.xml.rels><?xml version="1.0" encoding="UTF-8" standalone="yes"?>
<Relationships xmlns="http://schemas.openxmlformats.org/package/2006/relationships"><Relationship Id="rId8" Type="http://schemas.openxmlformats.org/officeDocument/2006/relationships/tags" Target="../tags/tag2315.xml"/><Relationship Id="rId13" Type="http://schemas.openxmlformats.org/officeDocument/2006/relationships/tags" Target="../tags/tag2320.xml"/><Relationship Id="rId18" Type="http://schemas.openxmlformats.org/officeDocument/2006/relationships/tags" Target="../tags/tag2325.xml"/><Relationship Id="rId26" Type="http://schemas.openxmlformats.org/officeDocument/2006/relationships/slide" Target="slide199.xml"/><Relationship Id="rId3" Type="http://schemas.openxmlformats.org/officeDocument/2006/relationships/tags" Target="../tags/tag2310.xml"/><Relationship Id="rId21" Type="http://schemas.openxmlformats.org/officeDocument/2006/relationships/tags" Target="../tags/tag2328.xml"/><Relationship Id="rId7" Type="http://schemas.openxmlformats.org/officeDocument/2006/relationships/tags" Target="../tags/tag2314.xml"/><Relationship Id="rId12" Type="http://schemas.openxmlformats.org/officeDocument/2006/relationships/tags" Target="../tags/tag2319.xml"/><Relationship Id="rId17" Type="http://schemas.openxmlformats.org/officeDocument/2006/relationships/tags" Target="../tags/tag2324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2309.xml"/><Relationship Id="rId16" Type="http://schemas.openxmlformats.org/officeDocument/2006/relationships/tags" Target="../tags/tag2323.xml"/><Relationship Id="rId20" Type="http://schemas.openxmlformats.org/officeDocument/2006/relationships/tags" Target="../tags/tag2327.xml"/><Relationship Id="rId29" Type="http://schemas.openxmlformats.org/officeDocument/2006/relationships/slide" Target="slide193.xml"/><Relationship Id="rId1" Type="http://schemas.openxmlformats.org/officeDocument/2006/relationships/tags" Target="../tags/tag2308.xml"/><Relationship Id="rId6" Type="http://schemas.openxmlformats.org/officeDocument/2006/relationships/tags" Target="../tags/tag2313.xml"/><Relationship Id="rId11" Type="http://schemas.openxmlformats.org/officeDocument/2006/relationships/tags" Target="../tags/tag2318.xml"/><Relationship Id="rId24" Type="http://schemas.openxmlformats.org/officeDocument/2006/relationships/tags" Target="../tags/tag2331.xml"/><Relationship Id="rId32" Type="http://schemas.openxmlformats.org/officeDocument/2006/relationships/slide" Target="slide187.xml"/><Relationship Id="rId5" Type="http://schemas.openxmlformats.org/officeDocument/2006/relationships/tags" Target="../tags/tag2312.xml"/><Relationship Id="rId15" Type="http://schemas.openxmlformats.org/officeDocument/2006/relationships/tags" Target="../tags/tag2322.xml"/><Relationship Id="rId23" Type="http://schemas.openxmlformats.org/officeDocument/2006/relationships/tags" Target="../tags/tag2330.xml"/><Relationship Id="rId28" Type="http://schemas.openxmlformats.org/officeDocument/2006/relationships/slide" Target="slide195.xml"/><Relationship Id="rId10" Type="http://schemas.openxmlformats.org/officeDocument/2006/relationships/tags" Target="../tags/tag2317.xml"/><Relationship Id="rId19" Type="http://schemas.openxmlformats.org/officeDocument/2006/relationships/tags" Target="../tags/tag2326.xml"/><Relationship Id="rId31" Type="http://schemas.openxmlformats.org/officeDocument/2006/relationships/slide" Target="slide189.xml"/><Relationship Id="rId4" Type="http://schemas.openxmlformats.org/officeDocument/2006/relationships/tags" Target="../tags/tag2311.xml"/><Relationship Id="rId9" Type="http://schemas.openxmlformats.org/officeDocument/2006/relationships/tags" Target="../tags/tag2316.xml"/><Relationship Id="rId14" Type="http://schemas.openxmlformats.org/officeDocument/2006/relationships/tags" Target="../tags/tag2321.xml"/><Relationship Id="rId22" Type="http://schemas.openxmlformats.org/officeDocument/2006/relationships/tags" Target="../tags/tag2329.xml"/><Relationship Id="rId27" Type="http://schemas.openxmlformats.org/officeDocument/2006/relationships/slide" Target="slide197.xml"/><Relationship Id="rId30" Type="http://schemas.openxmlformats.org/officeDocument/2006/relationships/slide" Target="slide191.xml"/></Relationships>
</file>

<file path=ppt/slides/_rels/slide1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9.xml.rels><?xml version="1.0" encoding="UTF-8" standalone="yes"?>
<Relationships xmlns="http://schemas.openxmlformats.org/package/2006/relationships"><Relationship Id="rId8" Type="http://schemas.openxmlformats.org/officeDocument/2006/relationships/tags" Target="../tags/tag2339.xml"/><Relationship Id="rId13" Type="http://schemas.openxmlformats.org/officeDocument/2006/relationships/tags" Target="../tags/tag2344.xml"/><Relationship Id="rId18" Type="http://schemas.openxmlformats.org/officeDocument/2006/relationships/tags" Target="../tags/tag2349.xml"/><Relationship Id="rId26" Type="http://schemas.openxmlformats.org/officeDocument/2006/relationships/slide" Target="slide199.xml"/><Relationship Id="rId3" Type="http://schemas.openxmlformats.org/officeDocument/2006/relationships/tags" Target="../tags/tag2334.xml"/><Relationship Id="rId21" Type="http://schemas.openxmlformats.org/officeDocument/2006/relationships/tags" Target="../tags/tag2352.xml"/><Relationship Id="rId7" Type="http://schemas.openxmlformats.org/officeDocument/2006/relationships/tags" Target="../tags/tag2338.xml"/><Relationship Id="rId12" Type="http://schemas.openxmlformats.org/officeDocument/2006/relationships/tags" Target="../tags/tag2343.xml"/><Relationship Id="rId17" Type="http://schemas.openxmlformats.org/officeDocument/2006/relationships/tags" Target="../tags/tag2348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2333.xml"/><Relationship Id="rId16" Type="http://schemas.openxmlformats.org/officeDocument/2006/relationships/tags" Target="../tags/tag2347.xml"/><Relationship Id="rId20" Type="http://schemas.openxmlformats.org/officeDocument/2006/relationships/tags" Target="../tags/tag2351.xml"/><Relationship Id="rId29" Type="http://schemas.openxmlformats.org/officeDocument/2006/relationships/slide" Target="slide193.xml"/><Relationship Id="rId1" Type="http://schemas.openxmlformats.org/officeDocument/2006/relationships/tags" Target="../tags/tag2332.xml"/><Relationship Id="rId6" Type="http://schemas.openxmlformats.org/officeDocument/2006/relationships/tags" Target="../tags/tag2337.xml"/><Relationship Id="rId11" Type="http://schemas.openxmlformats.org/officeDocument/2006/relationships/tags" Target="../tags/tag2342.xml"/><Relationship Id="rId24" Type="http://schemas.openxmlformats.org/officeDocument/2006/relationships/tags" Target="../tags/tag2355.xml"/><Relationship Id="rId32" Type="http://schemas.openxmlformats.org/officeDocument/2006/relationships/slide" Target="slide187.xml"/><Relationship Id="rId5" Type="http://schemas.openxmlformats.org/officeDocument/2006/relationships/tags" Target="../tags/tag2336.xml"/><Relationship Id="rId15" Type="http://schemas.openxmlformats.org/officeDocument/2006/relationships/tags" Target="../tags/tag2346.xml"/><Relationship Id="rId23" Type="http://schemas.openxmlformats.org/officeDocument/2006/relationships/tags" Target="../tags/tag2354.xml"/><Relationship Id="rId28" Type="http://schemas.openxmlformats.org/officeDocument/2006/relationships/slide" Target="slide195.xml"/><Relationship Id="rId10" Type="http://schemas.openxmlformats.org/officeDocument/2006/relationships/tags" Target="../tags/tag2341.xml"/><Relationship Id="rId19" Type="http://schemas.openxmlformats.org/officeDocument/2006/relationships/tags" Target="../tags/tag2350.xml"/><Relationship Id="rId31" Type="http://schemas.openxmlformats.org/officeDocument/2006/relationships/slide" Target="slide189.xml"/><Relationship Id="rId4" Type="http://schemas.openxmlformats.org/officeDocument/2006/relationships/tags" Target="../tags/tag2335.xml"/><Relationship Id="rId9" Type="http://schemas.openxmlformats.org/officeDocument/2006/relationships/tags" Target="../tags/tag2340.xml"/><Relationship Id="rId14" Type="http://schemas.openxmlformats.org/officeDocument/2006/relationships/tags" Target="../tags/tag2345.xml"/><Relationship Id="rId22" Type="http://schemas.openxmlformats.org/officeDocument/2006/relationships/tags" Target="../tags/tag2353.xml"/><Relationship Id="rId27" Type="http://schemas.openxmlformats.org/officeDocument/2006/relationships/slide" Target="slide197.xml"/><Relationship Id="rId30" Type="http://schemas.openxmlformats.org/officeDocument/2006/relationships/slide" Target="slide19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8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2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231.xml"/><Relationship Id="rId18" Type="http://schemas.openxmlformats.org/officeDocument/2006/relationships/tags" Target="../tags/tag236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221.xml"/><Relationship Id="rId21" Type="http://schemas.openxmlformats.org/officeDocument/2006/relationships/tags" Target="../tags/tag239.xml"/><Relationship Id="rId34" Type="http://schemas.openxmlformats.org/officeDocument/2006/relationships/oleObject" Target="../embeddings/oleObject18.bin"/><Relationship Id="rId7" Type="http://schemas.openxmlformats.org/officeDocument/2006/relationships/tags" Target="../tags/tag225.xml"/><Relationship Id="rId12" Type="http://schemas.openxmlformats.org/officeDocument/2006/relationships/tags" Target="../tags/tag230.xml"/><Relationship Id="rId17" Type="http://schemas.openxmlformats.org/officeDocument/2006/relationships/tags" Target="../tags/tag235.xml"/><Relationship Id="rId25" Type="http://schemas.openxmlformats.org/officeDocument/2006/relationships/tags" Target="../tags/tag243.xml"/><Relationship Id="rId33" Type="http://schemas.openxmlformats.org/officeDocument/2006/relationships/slide" Target="slide11.xml"/><Relationship Id="rId2" Type="http://schemas.openxmlformats.org/officeDocument/2006/relationships/tags" Target="../tags/tag220.xml"/><Relationship Id="rId16" Type="http://schemas.openxmlformats.org/officeDocument/2006/relationships/tags" Target="../tags/tag234.xml"/><Relationship Id="rId20" Type="http://schemas.openxmlformats.org/officeDocument/2006/relationships/tags" Target="../tags/tag238.xml"/><Relationship Id="rId29" Type="http://schemas.openxmlformats.org/officeDocument/2006/relationships/slide" Target="slide19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24" Type="http://schemas.openxmlformats.org/officeDocument/2006/relationships/tags" Target="../tags/tag242.xml"/><Relationship Id="rId32" Type="http://schemas.openxmlformats.org/officeDocument/2006/relationships/slide" Target="slide13.xml"/><Relationship Id="rId5" Type="http://schemas.openxmlformats.org/officeDocument/2006/relationships/tags" Target="../tags/tag223.xml"/><Relationship Id="rId15" Type="http://schemas.openxmlformats.org/officeDocument/2006/relationships/tags" Target="../tags/tag233.xml"/><Relationship Id="rId23" Type="http://schemas.openxmlformats.org/officeDocument/2006/relationships/tags" Target="../tags/tag241.xml"/><Relationship Id="rId28" Type="http://schemas.openxmlformats.org/officeDocument/2006/relationships/slide" Target="slide21.xml"/><Relationship Id="rId10" Type="http://schemas.openxmlformats.org/officeDocument/2006/relationships/tags" Target="../tags/tag228.xml"/><Relationship Id="rId19" Type="http://schemas.openxmlformats.org/officeDocument/2006/relationships/tags" Target="../tags/tag237.xml"/><Relationship Id="rId31" Type="http://schemas.openxmlformats.org/officeDocument/2006/relationships/slide" Target="slide15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Relationship Id="rId22" Type="http://schemas.openxmlformats.org/officeDocument/2006/relationships/tags" Target="../tags/tag240.xml"/><Relationship Id="rId27" Type="http://schemas.openxmlformats.org/officeDocument/2006/relationships/slide" Target="slide23.xml"/><Relationship Id="rId30" Type="http://schemas.openxmlformats.org/officeDocument/2006/relationships/slide" Target="slide17.xml"/><Relationship Id="rId35" Type="http://schemas.openxmlformats.org/officeDocument/2006/relationships/image" Target="../media/image1.emf"/><Relationship Id="rId8" Type="http://schemas.openxmlformats.org/officeDocument/2006/relationships/tags" Target="../tags/tag2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4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257.xml"/><Relationship Id="rId18" Type="http://schemas.openxmlformats.org/officeDocument/2006/relationships/tags" Target="../tags/tag262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247.xml"/><Relationship Id="rId21" Type="http://schemas.openxmlformats.org/officeDocument/2006/relationships/tags" Target="../tags/tag265.xml"/><Relationship Id="rId34" Type="http://schemas.openxmlformats.org/officeDocument/2006/relationships/oleObject" Target="../embeddings/oleObject20.bin"/><Relationship Id="rId7" Type="http://schemas.openxmlformats.org/officeDocument/2006/relationships/tags" Target="../tags/tag251.xml"/><Relationship Id="rId12" Type="http://schemas.openxmlformats.org/officeDocument/2006/relationships/tags" Target="../tags/tag256.xml"/><Relationship Id="rId17" Type="http://schemas.openxmlformats.org/officeDocument/2006/relationships/tags" Target="../tags/tag261.xml"/><Relationship Id="rId25" Type="http://schemas.openxmlformats.org/officeDocument/2006/relationships/tags" Target="../tags/tag269.xml"/><Relationship Id="rId33" Type="http://schemas.openxmlformats.org/officeDocument/2006/relationships/slide" Target="slide11.xml"/><Relationship Id="rId2" Type="http://schemas.openxmlformats.org/officeDocument/2006/relationships/tags" Target="../tags/tag246.xml"/><Relationship Id="rId16" Type="http://schemas.openxmlformats.org/officeDocument/2006/relationships/tags" Target="../tags/tag260.xml"/><Relationship Id="rId20" Type="http://schemas.openxmlformats.org/officeDocument/2006/relationships/tags" Target="../tags/tag264.xml"/><Relationship Id="rId29" Type="http://schemas.openxmlformats.org/officeDocument/2006/relationships/slide" Target="slide19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tags" Target="../tags/tag255.xml"/><Relationship Id="rId24" Type="http://schemas.openxmlformats.org/officeDocument/2006/relationships/tags" Target="../tags/tag268.xml"/><Relationship Id="rId32" Type="http://schemas.openxmlformats.org/officeDocument/2006/relationships/slide" Target="slide13.xml"/><Relationship Id="rId5" Type="http://schemas.openxmlformats.org/officeDocument/2006/relationships/tags" Target="../tags/tag249.xml"/><Relationship Id="rId15" Type="http://schemas.openxmlformats.org/officeDocument/2006/relationships/tags" Target="../tags/tag259.xml"/><Relationship Id="rId23" Type="http://schemas.openxmlformats.org/officeDocument/2006/relationships/tags" Target="../tags/tag267.xml"/><Relationship Id="rId28" Type="http://schemas.openxmlformats.org/officeDocument/2006/relationships/slide" Target="slide21.xml"/><Relationship Id="rId10" Type="http://schemas.openxmlformats.org/officeDocument/2006/relationships/tags" Target="../tags/tag254.xml"/><Relationship Id="rId19" Type="http://schemas.openxmlformats.org/officeDocument/2006/relationships/tags" Target="../tags/tag263.xml"/><Relationship Id="rId31" Type="http://schemas.openxmlformats.org/officeDocument/2006/relationships/slide" Target="slide15.xml"/><Relationship Id="rId4" Type="http://schemas.openxmlformats.org/officeDocument/2006/relationships/tags" Target="../tags/tag248.xml"/><Relationship Id="rId9" Type="http://schemas.openxmlformats.org/officeDocument/2006/relationships/tags" Target="../tags/tag253.xml"/><Relationship Id="rId14" Type="http://schemas.openxmlformats.org/officeDocument/2006/relationships/tags" Target="../tags/tag258.xml"/><Relationship Id="rId22" Type="http://schemas.openxmlformats.org/officeDocument/2006/relationships/tags" Target="../tags/tag266.xml"/><Relationship Id="rId27" Type="http://schemas.openxmlformats.org/officeDocument/2006/relationships/slide" Target="slide23.xml"/><Relationship Id="rId30" Type="http://schemas.openxmlformats.org/officeDocument/2006/relationships/slide" Target="slide17.xml"/><Relationship Id="rId35" Type="http://schemas.openxmlformats.org/officeDocument/2006/relationships/image" Target="../media/image1.emf"/><Relationship Id="rId8" Type="http://schemas.openxmlformats.org/officeDocument/2006/relationships/tags" Target="../tags/tag25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0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283.xml"/><Relationship Id="rId18" Type="http://schemas.openxmlformats.org/officeDocument/2006/relationships/tags" Target="../tags/tag288.xml"/><Relationship Id="rId26" Type="http://schemas.openxmlformats.org/officeDocument/2006/relationships/tags" Target="../tags/tag296.xml"/><Relationship Id="rId39" Type="http://schemas.openxmlformats.org/officeDocument/2006/relationships/image" Target="../media/image1.emf"/><Relationship Id="rId21" Type="http://schemas.openxmlformats.org/officeDocument/2006/relationships/tags" Target="../tags/tag291.xml"/><Relationship Id="rId34" Type="http://schemas.openxmlformats.org/officeDocument/2006/relationships/slide" Target="slide55.xml"/><Relationship Id="rId7" Type="http://schemas.openxmlformats.org/officeDocument/2006/relationships/tags" Target="../tags/tag277.xml"/><Relationship Id="rId12" Type="http://schemas.openxmlformats.org/officeDocument/2006/relationships/tags" Target="../tags/tag282.xml"/><Relationship Id="rId17" Type="http://schemas.openxmlformats.org/officeDocument/2006/relationships/tags" Target="../tags/tag287.xml"/><Relationship Id="rId25" Type="http://schemas.openxmlformats.org/officeDocument/2006/relationships/tags" Target="../tags/tag295.xml"/><Relationship Id="rId33" Type="http://schemas.openxmlformats.org/officeDocument/2006/relationships/slide" Target="slide95.xml"/><Relationship Id="rId38" Type="http://schemas.openxmlformats.org/officeDocument/2006/relationships/oleObject" Target="../embeddings/oleObject22.bin"/><Relationship Id="rId2" Type="http://schemas.openxmlformats.org/officeDocument/2006/relationships/tags" Target="../tags/tag272.xml"/><Relationship Id="rId16" Type="http://schemas.openxmlformats.org/officeDocument/2006/relationships/tags" Target="../tags/tag286.xml"/><Relationship Id="rId20" Type="http://schemas.openxmlformats.org/officeDocument/2006/relationships/tags" Target="../tags/tag290.xml"/><Relationship Id="rId29" Type="http://schemas.openxmlformats.org/officeDocument/2006/relationships/slideLayout" Target="../slideLayouts/slideLayout6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11" Type="http://schemas.openxmlformats.org/officeDocument/2006/relationships/tags" Target="../tags/tag281.xml"/><Relationship Id="rId24" Type="http://schemas.openxmlformats.org/officeDocument/2006/relationships/tags" Target="../tags/tag294.xml"/><Relationship Id="rId32" Type="http://schemas.openxmlformats.org/officeDocument/2006/relationships/slide" Target="slide125.xml"/><Relationship Id="rId37" Type="http://schemas.openxmlformats.org/officeDocument/2006/relationships/slide" Target="slide5.xml"/><Relationship Id="rId5" Type="http://schemas.openxmlformats.org/officeDocument/2006/relationships/tags" Target="../tags/tag275.xml"/><Relationship Id="rId15" Type="http://schemas.openxmlformats.org/officeDocument/2006/relationships/tags" Target="../tags/tag285.xml"/><Relationship Id="rId23" Type="http://schemas.openxmlformats.org/officeDocument/2006/relationships/tags" Target="../tags/tag293.xml"/><Relationship Id="rId28" Type="http://schemas.openxmlformats.org/officeDocument/2006/relationships/tags" Target="../tags/tag298.xml"/><Relationship Id="rId36" Type="http://schemas.openxmlformats.org/officeDocument/2006/relationships/slide" Target="slide9.xml"/><Relationship Id="rId10" Type="http://schemas.openxmlformats.org/officeDocument/2006/relationships/tags" Target="../tags/tag280.xml"/><Relationship Id="rId19" Type="http://schemas.openxmlformats.org/officeDocument/2006/relationships/tags" Target="../tags/tag289.xml"/><Relationship Id="rId31" Type="http://schemas.openxmlformats.org/officeDocument/2006/relationships/slide" Target="slide149.xml"/><Relationship Id="rId4" Type="http://schemas.openxmlformats.org/officeDocument/2006/relationships/tags" Target="../tags/tag274.xml"/><Relationship Id="rId9" Type="http://schemas.openxmlformats.org/officeDocument/2006/relationships/tags" Target="../tags/tag279.xml"/><Relationship Id="rId14" Type="http://schemas.openxmlformats.org/officeDocument/2006/relationships/tags" Target="../tags/tag284.xml"/><Relationship Id="rId22" Type="http://schemas.openxmlformats.org/officeDocument/2006/relationships/tags" Target="../tags/tag292.xml"/><Relationship Id="rId27" Type="http://schemas.openxmlformats.org/officeDocument/2006/relationships/tags" Target="../tags/tag297.xml"/><Relationship Id="rId30" Type="http://schemas.openxmlformats.org/officeDocument/2006/relationships/slide" Target="slide185.xml"/><Relationship Id="rId35" Type="http://schemas.openxmlformats.org/officeDocument/2006/relationships/slide" Target="slide25.xml"/><Relationship Id="rId8" Type="http://schemas.openxmlformats.org/officeDocument/2006/relationships/tags" Target="../tags/tag278.xml"/><Relationship Id="rId3" Type="http://schemas.openxmlformats.org/officeDocument/2006/relationships/tags" Target="../tags/tag27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9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307.xml"/><Relationship Id="rId13" Type="http://schemas.openxmlformats.org/officeDocument/2006/relationships/tags" Target="../tags/tag312.xml"/><Relationship Id="rId18" Type="http://schemas.openxmlformats.org/officeDocument/2006/relationships/slide" Target="slide41.xml"/><Relationship Id="rId3" Type="http://schemas.openxmlformats.org/officeDocument/2006/relationships/tags" Target="../tags/tag302.xml"/><Relationship Id="rId7" Type="http://schemas.openxmlformats.org/officeDocument/2006/relationships/tags" Target="../tags/tag306.xml"/><Relationship Id="rId12" Type="http://schemas.openxmlformats.org/officeDocument/2006/relationships/tags" Target="../tags/tag311.xml"/><Relationship Id="rId17" Type="http://schemas.openxmlformats.org/officeDocument/2006/relationships/slide" Target="slide50.xml"/><Relationship Id="rId2" Type="http://schemas.openxmlformats.org/officeDocument/2006/relationships/tags" Target="../tags/tag301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27.xml"/><Relationship Id="rId1" Type="http://schemas.openxmlformats.org/officeDocument/2006/relationships/tags" Target="../tags/tag300.xml"/><Relationship Id="rId6" Type="http://schemas.openxmlformats.org/officeDocument/2006/relationships/tags" Target="../tags/tag305.xml"/><Relationship Id="rId11" Type="http://schemas.openxmlformats.org/officeDocument/2006/relationships/tags" Target="../tags/tag310.xml"/><Relationship Id="rId5" Type="http://schemas.openxmlformats.org/officeDocument/2006/relationships/tags" Target="../tags/tag304.xml"/><Relationship Id="rId15" Type="http://schemas.openxmlformats.org/officeDocument/2006/relationships/tags" Target="../tags/tag314.xml"/><Relationship Id="rId10" Type="http://schemas.openxmlformats.org/officeDocument/2006/relationships/tags" Target="../tags/tag309.xml"/><Relationship Id="rId19" Type="http://schemas.openxmlformats.org/officeDocument/2006/relationships/slide" Target="slide29.xml"/><Relationship Id="rId4" Type="http://schemas.openxmlformats.org/officeDocument/2006/relationships/tags" Target="../tags/tag303.xml"/><Relationship Id="rId9" Type="http://schemas.openxmlformats.org/officeDocument/2006/relationships/tags" Target="../tags/tag308.xml"/><Relationship Id="rId14" Type="http://schemas.openxmlformats.org/officeDocument/2006/relationships/tags" Target="../tags/tag3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5.xml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13" Type="http://schemas.openxmlformats.org/officeDocument/2006/relationships/tags" Target="../tags/tag328.xml"/><Relationship Id="rId18" Type="http://schemas.openxmlformats.org/officeDocument/2006/relationships/slide" Target="slide41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12" Type="http://schemas.openxmlformats.org/officeDocument/2006/relationships/tags" Target="../tags/tag327.xml"/><Relationship Id="rId17" Type="http://schemas.openxmlformats.org/officeDocument/2006/relationships/slide" Target="slide50.xml"/><Relationship Id="rId2" Type="http://schemas.openxmlformats.org/officeDocument/2006/relationships/tags" Target="../tags/tag317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2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11" Type="http://schemas.openxmlformats.org/officeDocument/2006/relationships/tags" Target="../tags/tag326.xml"/><Relationship Id="rId5" Type="http://schemas.openxmlformats.org/officeDocument/2006/relationships/tags" Target="../tags/tag320.xml"/><Relationship Id="rId15" Type="http://schemas.openxmlformats.org/officeDocument/2006/relationships/tags" Target="../tags/tag330.xml"/><Relationship Id="rId10" Type="http://schemas.openxmlformats.org/officeDocument/2006/relationships/tags" Target="../tags/tag325.xml"/><Relationship Id="rId19" Type="http://schemas.openxmlformats.org/officeDocument/2006/relationships/slide" Target="slide29.xml"/><Relationship Id="rId4" Type="http://schemas.openxmlformats.org/officeDocument/2006/relationships/tags" Target="../tags/tag319.xml"/><Relationship Id="rId9" Type="http://schemas.openxmlformats.org/officeDocument/2006/relationships/tags" Target="../tags/tag324.xml"/><Relationship Id="rId14" Type="http://schemas.openxmlformats.org/officeDocument/2006/relationships/tags" Target="../tags/tag329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34" Type="http://schemas.openxmlformats.org/officeDocument/2006/relationships/slide" Target="slide2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slide" Target="slide55.xml"/><Relationship Id="rId38" Type="http://schemas.openxmlformats.org/officeDocument/2006/relationships/image" Target="../media/image1.emf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slide" Target="slide185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slide" Target="slide95.xml"/><Relationship Id="rId37" Type="http://schemas.openxmlformats.org/officeDocument/2006/relationships/oleObject" Target="../embeddings/oleObject2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slide" Target="slide125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slide" Target="slide149.xml"/><Relationship Id="rId35" Type="http://schemas.openxmlformats.org/officeDocument/2006/relationships/slide" Target="slide9.xml"/><Relationship Id="rId8" Type="http://schemas.openxmlformats.org/officeDocument/2006/relationships/tags" Target="../tags/tag10.xml"/><Relationship Id="rId3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3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4.xml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5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6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7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8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9.xml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0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1.xml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2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13" Type="http://schemas.openxmlformats.org/officeDocument/2006/relationships/tags" Target="../tags/tag355.xml"/><Relationship Id="rId18" Type="http://schemas.openxmlformats.org/officeDocument/2006/relationships/slide" Target="slide41.xml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12" Type="http://schemas.openxmlformats.org/officeDocument/2006/relationships/tags" Target="../tags/tag354.xml"/><Relationship Id="rId17" Type="http://schemas.openxmlformats.org/officeDocument/2006/relationships/slide" Target="slide50.xml"/><Relationship Id="rId2" Type="http://schemas.openxmlformats.org/officeDocument/2006/relationships/tags" Target="../tags/tag344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27.xml"/><Relationship Id="rId1" Type="http://schemas.openxmlformats.org/officeDocument/2006/relationships/tags" Target="../tags/tag343.xml"/><Relationship Id="rId6" Type="http://schemas.openxmlformats.org/officeDocument/2006/relationships/tags" Target="../tags/tag348.xml"/><Relationship Id="rId11" Type="http://schemas.openxmlformats.org/officeDocument/2006/relationships/tags" Target="../tags/tag353.xml"/><Relationship Id="rId5" Type="http://schemas.openxmlformats.org/officeDocument/2006/relationships/tags" Target="../tags/tag347.xml"/><Relationship Id="rId15" Type="http://schemas.openxmlformats.org/officeDocument/2006/relationships/tags" Target="../tags/tag357.xml"/><Relationship Id="rId10" Type="http://schemas.openxmlformats.org/officeDocument/2006/relationships/tags" Target="../tags/tag352.xml"/><Relationship Id="rId19" Type="http://schemas.openxmlformats.org/officeDocument/2006/relationships/slide" Target="slide29.xml"/><Relationship Id="rId4" Type="http://schemas.openxmlformats.org/officeDocument/2006/relationships/tags" Target="../tags/tag346.xml"/><Relationship Id="rId9" Type="http://schemas.openxmlformats.org/officeDocument/2006/relationships/tags" Target="../tags/tag351.xml"/><Relationship Id="rId14" Type="http://schemas.openxmlformats.org/officeDocument/2006/relationships/tags" Target="../tags/tag35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0.xml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1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2.xml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3.xml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4.xml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5.xml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6.xml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tags" Target="../tags/tag56.xml"/><Relationship Id="rId3" Type="http://schemas.openxmlformats.org/officeDocument/2006/relationships/tags" Target="../tags/tag33.xml"/><Relationship Id="rId21" Type="http://schemas.openxmlformats.org/officeDocument/2006/relationships/tags" Target="../tags/tag51.xml"/><Relationship Id="rId34" Type="http://schemas.openxmlformats.org/officeDocument/2006/relationships/slide" Target="slide25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33" Type="http://schemas.openxmlformats.org/officeDocument/2006/relationships/slide" Target="slide55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slide" Target="slide185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32" Type="http://schemas.openxmlformats.org/officeDocument/2006/relationships/slide" Target="slide95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.xml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31" Type="http://schemas.openxmlformats.org/officeDocument/2006/relationships/slide" Target="slide125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tags" Target="../tags/tag57.xml"/><Relationship Id="rId30" Type="http://schemas.openxmlformats.org/officeDocument/2006/relationships/slide" Target="slide149.xml"/><Relationship Id="rId35" Type="http://schemas.openxmlformats.org/officeDocument/2006/relationships/slide" Target="slide9.xml"/><Relationship Id="rId8" Type="http://schemas.openxmlformats.org/officeDocument/2006/relationships/tags" Target="../tags/tag38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374.xml"/><Relationship Id="rId13" Type="http://schemas.openxmlformats.org/officeDocument/2006/relationships/tags" Target="../tags/tag379.xml"/><Relationship Id="rId18" Type="http://schemas.openxmlformats.org/officeDocument/2006/relationships/slide" Target="slide41.xml"/><Relationship Id="rId3" Type="http://schemas.openxmlformats.org/officeDocument/2006/relationships/tags" Target="../tags/tag369.xml"/><Relationship Id="rId7" Type="http://schemas.openxmlformats.org/officeDocument/2006/relationships/tags" Target="../tags/tag373.xml"/><Relationship Id="rId12" Type="http://schemas.openxmlformats.org/officeDocument/2006/relationships/tags" Target="../tags/tag378.xml"/><Relationship Id="rId17" Type="http://schemas.openxmlformats.org/officeDocument/2006/relationships/slide" Target="slide50.xml"/><Relationship Id="rId2" Type="http://schemas.openxmlformats.org/officeDocument/2006/relationships/tags" Target="../tags/tag368.xml"/><Relationship Id="rId16" Type="http://schemas.openxmlformats.org/officeDocument/2006/relationships/slideLayout" Target="../slideLayouts/slideLayout6.xml"/><Relationship Id="rId20" Type="http://schemas.openxmlformats.org/officeDocument/2006/relationships/slide" Target="slide27.xml"/><Relationship Id="rId1" Type="http://schemas.openxmlformats.org/officeDocument/2006/relationships/tags" Target="../tags/tag367.xml"/><Relationship Id="rId6" Type="http://schemas.openxmlformats.org/officeDocument/2006/relationships/tags" Target="../tags/tag372.xml"/><Relationship Id="rId11" Type="http://schemas.openxmlformats.org/officeDocument/2006/relationships/tags" Target="../tags/tag377.xml"/><Relationship Id="rId5" Type="http://schemas.openxmlformats.org/officeDocument/2006/relationships/tags" Target="../tags/tag371.xml"/><Relationship Id="rId15" Type="http://schemas.openxmlformats.org/officeDocument/2006/relationships/tags" Target="../tags/tag381.xml"/><Relationship Id="rId10" Type="http://schemas.openxmlformats.org/officeDocument/2006/relationships/tags" Target="../tags/tag376.xml"/><Relationship Id="rId19" Type="http://schemas.openxmlformats.org/officeDocument/2006/relationships/slide" Target="slide29.xml"/><Relationship Id="rId4" Type="http://schemas.openxmlformats.org/officeDocument/2006/relationships/tags" Target="../tags/tag370.xml"/><Relationship Id="rId9" Type="http://schemas.openxmlformats.org/officeDocument/2006/relationships/tags" Target="../tags/tag375.xml"/><Relationship Id="rId14" Type="http://schemas.openxmlformats.org/officeDocument/2006/relationships/tags" Target="../tags/tag38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2.xml"/><Relationship Id="rId4" Type="http://schemas.openxmlformats.org/officeDocument/2006/relationships/image" Target="../media/image1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3.xml"/><Relationship Id="rId4" Type="http://schemas.openxmlformats.org/officeDocument/2006/relationships/image" Target="../media/image1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4.xml"/><Relationship Id="rId4" Type="http://schemas.openxmlformats.org/officeDocument/2006/relationships/image" Target="../media/image1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5.xml"/><Relationship Id="rId4" Type="http://schemas.openxmlformats.org/officeDocument/2006/relationships/image" Target="../media/image1.emf"/></Relationships>
</file>

<file path=ppt/slides/_rels/slide55.xml.rels><?xml version="1.0" encoding="UTF-8" standalone="yes"?>
<Relationships xmlns="http://schemas.openxmlformats.org/package/2006/relationships"><Relationship Id="rId13" Type="http://schemas.openxmlformats.org/officeDocument/2006/relationships/tags" Target="../tags/tag398.xml"/><Relationship Id="rId18" Type="http://schemas.openxmlformats.org/officeDocument/2006/relationships/tags" Target="../tags/tag403.xml"/><Relationship Id="rId26" Type="http://schemas.openxmlformats.org/officeDocument/2006/relationships/tags" Target="../tags/tag411.xml"/><Relationship Id="rId3" Type="http://schemas.openxmlformats.org/officeDocument/2006/relationships/tags" Target="../tags/tag388.xml"/><Relationship Id="rId21" Type="http://schemas.openxmlformats.org/officeDocument/2006/relationships/tags" Target="../tags/tag406.xml"/><Relationship Id="rId34" Type="http://schemas.openxmlformats.org/officeDocument/2006/relationships/slide" Target="slide25.xml"/><Relationship Id="rId7" Type="http://schemas.openxmlformats.org/officeDocument/2006/relationships/tags" Target="../tags/tag392.xml"/><Relationship Id="rId12" Type="http://schemas.openxmlformats.org/officeDocument/2006/relationships/tags" Target="../tags/tag397.xml"/><Relationship Id="rId17" Type="http://schemas.openxmlformats.org/officeDocument/2006/relationships/tags" Target="../tags/tag402.xml"/><Relationship Id="rId25" Type="http://schemas.openxmlformats.org/officeDocument/2006/relationships/tags" Target="../tags/tag410.xml"/><Relationship Id="rId33" Type="http://schemas.openxmlformats.org/officeDocument/2006/relationships/slide" Target="slide55.xml"/><Relationship Id="rId2" Type="http://schemas.openxmlformats.org/officeDocument/2006/relationships/tags" Target="../tags/tag387.xml"/><Relationship Id="rId16" Type="http://schemas.openxmlformats.org/officeDocument/2006/relationships/tags" Target="../tags/tag401.xml"/><Relationship Id="rId20" Type="http://schemas.openxmlformats.org/officeDocument/2006/relationships/tags" Target="../tags/tag405.xml"/><Relationship Id="rId29" Type="http://schemas.openxmlformats.org/officeDocument/2006/relationships/slide" Target="slide185.xml"/><Relationship Id="rId1" Type="http://schemas.openxmlformats.org/officeDocument/2006/relationships/tags" Target="../tags/tag386.xml"/><Relationship Id="rId6" Type="http://schemas.openxmlformats.org/officeDocument/2006/relationships/tags" Target="../tags/tag391.xml"/><Relationship Id="rId11" Type="http://schemas.openxmlformats.org/officeDocument/2006/relationships/tags" Target="../tags/tag396.xml"/><Relationship Id="rId24" Type="http://schemas.openxmlformats.org/officeDocument/2006/relationships/tags" Target="../tags/tag409.xml"/><Relationship Id="rId32" Type="http://schemas.openxmlformats.org/officeDocument/2006/relationships/slide" Target="slide95.xml"/><Relationship Id="rId5" Type="http://schemas.openxmlformats.org/officeDocument/2006/relationships/tags" Target="../tags/tag390.xml"/><Relationship Id="rId15" Type="http://schemas.openxmlformats.org/officeDocument/2006/relationships/tags" Target="../tags/tag400.xml"/><Relationship Id="rId23" Type="http://schemas.openxmlformats.org/officeDocument/2006/relationships/tags" Target="../tags/tag408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.xml"/><Relationship Id="rId10" Type="http://schemas.openxmlformats.org/officeDocument/2006/relationships/tags" Target="../tags/tag395.xml"/><Relationship Id="rId19" Type="http://schemas.openxmlformats.org/officeDocument/2006/relationships/tags" Target="../tags/tag404.xml"/><Relationship Id="rId31" Type="http://schemas.openxmlformats.org/officeDocument/2006/relationships/slide" Target="slide125.xml"/><Relationship Id="rId4" Type="http://schemas.openxmlformats.org/officeDocument/2006/relationships/tags" Target="../tags/tag389.xml"/><Relationship Id="rId9" Type="http://schemas.openxmlformats.org/officeDocument/2006/relationships/tags" Target="../tags/tag394.xml"/><Relationship Id="rId14" Type="http://schemas.openxmlformats.org/officeDocument/2006/relationships/tags" Target="../tags/tag399.xml"/><Relationship Id="rId22" Type="http://schemas.openxmlformats.org/officeDocument/2006/relationships/tags" Target="../tags/tag407.xml"/><Relationship Id="rId27" Type="http://schemas.openxmlformats.org/officeDocument/2006/relationships/tags" Target="../tags/tag412.xml"/><Relationship Id="rId30" Type="http://schemas.openxmlformats.org/officeDocument/2006/relationships/slide" Target="slide149.xml"/><Relationship Id="rId35" Type="http://schemas.openxmlformats.org/officeDocument/2006/relationships/slide" Target="slide9.xml"/><Relationship Id="rId8" Type="http://schemas.openxmlformats.org/officeDocument/2006/relationships/tags" Target="../tags/tag39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420.xml"/><Relationship Id="rId13" Type="http://schemas.openxmlformats.org/officeDocument/2006/relationships/tags" Target="../tags/tag425.xml"/><Relationship Id="rId18" Type="http://schemas.openxmlformats.org/officeDocument/2006/relationships/tags" Target="../tags/tag430.xml"/><Relationship Id="rId3" Type="http://schemas.openxmlformats.org/officeDocument/2006/relationships/tags" Target="../tags/tag415.xml"/><Relationship Id="rId21" Type="http://schemas.openxmlformats.org/officeDocument/2006/relationships/slide" Target="slide77.xml"/><Relationship Id="rId7" Type="http://schemas.openxmlformats.org/officeDocument/2006/relationships/tags" Target="../tags/tag419.xml"/><Relationship Id="rId12" Type="http://schemas.openxmlformats.org/officeDocument/2006/relationships/tags" Target="../tags/tag424.xml"/><Relationship Id="rId17" Type="http://schemas.openxmlformats.org/officeDocument/2006/relationships/tags" Target="../tags/tag429.xml"/><Relationship Id="rId2" Type="http://schemas.openxmlformats.org/officeDocument/2006/relationships/tags" Target="../tags/tag414.xml"/><Relationship Id="rId16" Type="http://schemas.openxmlformats.org/officeDocument/2006/relationships/tags" Target="../tags/tag428.xml"/><Relationship Id="rId20" Type="http://schemas.openxmlformats.org/officeDocument/2006/relationships/slide" Target="slide85.xml"/><Relationship Id="rId1" Type="http://schemas.openxmlformats.org/officeDocument/2006/relationships/tags" Target="../tags/tag413.xml"/><Relationship Id="rId6" Type="http://schemas.openxmlformats.org/officeDocument/2006/relationships/tags" Target="../tags/tag418.xml"/><Relationship Id="rId11" Type="http://schemas.openxmlformats.org/officeDocument/2006/relationships/tags" Target="../tags/tag423.xml"/><Relationship Id="rId24" Type="http://schemas.openxmlformats.org/officeDocument/2006/relationships/slide" Target="slide57.xml"/><Relationship Id="rId5" Type="http://schemas.openxmlformats.org/officeDocument/2006/relationships/tags" Target="../tags/tag417.xml"/><Relationship Id="rId15" Type="http://schemas.openxmlformats.org/officeDocument/2006/relationships/tags" Target="../tags/tag427.xml"/><Relationship Id="rId23" Type="http://schemas.openxmlformats.org/officeDocument/2006/relationships/slide" Target="slide59.xml"/><Relationship Id="rId10" Type="http://schemas.openxmlformats.org/officeDocument/2006/relationships/tags" Target="../tags/tag422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416.xml"/><Relationship Id="rId9" Type="http://schemas.openxmlformats.org/officeDocument/2006/relationships/tags" Target="../tags/tag421.xml"/><Relationship Id="rId14" Type="http://schemas.openxmlformats.org/officeDocument/2006/relationships/tags" Target="../tags/tag426.xml"/><Relationship Id="rId22" Type="http://schemas.openxmlformats.org/officeDocument/2006/relationships/slide" Target="slide69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3" Type="http://schemas.openxmlformats.org/officeDocument/2006/relationships/tags" Target="../tags/tag443.xml"/><Relationship Id="rId18" Type="http://schemas.openxmlformats.org/officeDocument/2006/relationships/tags" Target="../tags/tag448.xml"/><Relationship Id="rId26" Type="http://schemas.openxmlformats.org/officeDocument/2006/relationships/tags" Target="../tags/tag456.xml"/><Relationship Id="rId39" Type="http://schemas.openxmlformats.org/officeDocument/2006/relationships/slide" Target="slide59.xml"/><Relationship Id="rId21" Type="http://schemas.openxmlformats.org/officeDocument/2006/relationships/tags" Target="../tags/tag451.xml"/><Relationship Id="rId34" Type="http://schemas.openxmlformats.org/officeDocument/2006/relationships/slide" Target="slide69.xml"/><Relationship Id="rId7" Type="http://schemas.openxmlformats.org/officeDocument/2006/relationships/tags" Target="../tags/tag437.xml"/><Relationship Id="rId12" Type="http://schemas.openxmlformats.org/officeDocument/2006/relationships/tags" Target="../tags/tag442.xml"/><Relationship Id="rId17" Type="http://schemas.openxmlformats.org/officeDocument/2006/relationships/tags" Target="../tags/tag447.xml"/><Relationship Id="rId25" Type="http://schemas.openxmlformats.org/officeDocument/2006/relationships/tags" Target="../tags/tag455.xml"/><Relationship Id="rId33" Type="http://schemas.openxmlformats.org/officeDocument/2006/relationships/slide" Target="slide77.xml"/><Relationship Id="rId38" Type="http://schemas.openxmlformats.org/officeDocument/2006/relationships/slide" Target="slide61.xml"/><Relationship Id="rId2" Type="http://schemas.openxmlformats.org/officeDocument/2006/relationships/tags" Target="../tags/tag432.xml"/><Relationship Id="rId16" Type="http://schemas.openxmlformats.org/officeDocument/2006/relationships/tags" Target="../tags/tag446.xml"/><Relationship Id="rId20" Type="http://schemas.openxmlformats.org/officeDocument/2006/relationships/tags" Target="../tags/tag450.xml"/><Relationship Id="rId29" Type="http://schemas.openxmlformats.org/officeDocument/2006/relationships/tags" Target="../tags/tag459.xml"/><Relationship Id="rId1" Type="http://schemas.openxmlformats.org/officeDocument/2006/relationships/tags" Target="../tags/tag431.xml"/><Relationship Id="rId6" Type="http://schemas.openxmlformats.org/officeDocument/2006/relationships/tags" Target="../tags/tag436.xml"/><Relationship Id="rId11" Type="http://schemas.openxmlformats.org/officeDocument/2006/relationships/tags" Target="../tags/tag441.xml"/><Relationship Id="rId24" Type="http://schemas.openxmlformats.org/officeDocument/2006/relationships/tags" Target="../tags/tag454.xml"/><Relationship Id="rId32" Type="http://schemas.openxmlformats.org/officeDocument/2006/relationships/slide" Target="slide85.xml"/><Relationship Id="rId37" Type="http://schemas.openxmlformats.org/officeDocument/2006/relationships/slide" Target="slide63.xml"/><Relationship Id="rId40" Type="http://schemas.openxmlformats.org/officeDocument/2006/relationships/slide" Target="slide57.xml"/><Relationship Id="rId5" Type="http://schemas.openxmlformats.org/officeDocument/2006/relationships/tags" Target="../tags/tag435.xml"/><Relationship Id="rId15" Type="http://schemas.openxmlformats.org/officeDocument/2006/relationships/tags" Target="../tags/tag445.xml"/><Relationship Id="rId23" Type="http://schemas.openxmlformats.org/officeDocument/2006/relationships/tags" Target="../tags/tag453.xml"/><Relationship Id="rId28" Type="http://schemas.openxmlformats.org/officeDocument/2006/relationships/tags" Target="../tags/tag458.xml"/><Relationship Id="rId36" Type="http://schemas.openxmlformats.org/officeDocument/2006/relationships/slide" Target="slide65.xml"/><Relationship Id="rId10" Type="http://schemas.openxmlformats.org/officeDocument/2006/relationships/tags" Target="../tags/tag440.xml"/><Relationship Id="rId19" Type="http://schemas.openxmlformats.org/officeDocument/2006/relationships/tags" Target="../tags/tag44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434.xml"/><Relationship Id="rId9" Type="http://schemas.openxmlformats.org/officeDocument/2006/relationships/tags" Target="../tags/tag439.xml"/><Relationship Id="rId14" Type="http://schemas.openxmlformats.org/officeDocument/2006/relationships/tags" Target="../tags/tag444.xml"/><Relationship Id="rId22" Type="http://schemas.openxmlformats.org/officeDocument/2006/relationships/tags" Target="../tags/tag452.xml"/><Relationship Id="rId27" Type="http://schemas.openxmlformats.org/officeDocument/2006/relationships/tags" Target="../tags/tag457.xml"/><Relationship Id="rId30" Type="http://schemas.openxmlformats.org/officeDocument/2006/relationships/tags" Target="../tags/tag460.xml"/><Relationship Id="rId35" Type="http://schemas.openxmlformats.org/officeDocument/2006/relationships/slide" Target="slide67.xml"/><Relationship Id="rId8" Type="http://schemas.openxmlformats.org/officeDocument/2006/relationships/tags" Target="../tags/tag438.xml"/><Relationship Id="rId3" Type="http://schemas.openxmlformats.org/officeDocument/2006/relationships/tags" Target="../tags/tag4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3" Type="http://schemas.openxmlformats.org/officeDocument/2006/relationships/tags" Target="../tags/tag473.xml"/><Relationship Id="rId18" Type="http://schemas.openxmlformats.org/officeDocument/2006/relationships/tags" Target="../tags/tag478.xml"/><Relationship Id="rId26" Type="http://schemas.openxmlformats.org/officeDocument/2006/relationships/tags" Target="../tags/tag486.xml"/><Relationship Id="rId39" Type="http://schemas.openxmlformats.org/officeDocument/2006/relationships/slide" Target="slide59.xml"/><Relationship Id="rId21" Type="http://schemas.openxmlformats.org/officeDocument/2006/relationships/tags" Target="../tags/tag481.xml"/><Relationship Id="rId34" Type="http://schemas.openxmlformats.org/officeDocument/2006/relationships/slide" Target="slide69.xml"/><Relationship Id="rId7" Type="http://schemas.openxmlformats.org/officeDocument/2006/relationships/tags" Target="../tags/tag467.xml"/><Relationship Id="rId12" Type="http://schemas.openxmlformats.org/officeDocument/2006/relationships/tags" Target="../tags/tag472.xml"/><Relationship Id="rId17" Type="http://schemas.openxmlformats.org/officeDocument/2006/relationships/tags" Target="../tags/tag477.xml"/><Relationship Id="rId25" Type="http://schemas.openxmlformats.org/officeDocument/2006/relationships/tags" Target="../tags/tag485.xml"/><Relationship Id="rId33" Type="http://schemas.openxmlformats.org/officeDocument/2006/relationships/slide" Target="slide77.xml"/><Relationship Id="rId38" Type="http://schemas.openxmlformats.org/officeDocument/2006/relationships/slide" Target="slide61.xml"/><Relationship Id="rId2" Type="http://schemas.openxmlformats.org/officeDocument/2006/relationships/tags" Target="../tags/tag462.xml"/><Relationship Id="rId16" Type="http://schemas.openxmlformats.org/officeDocument/2006/relationships/tags" Target="../tags/tag476.xml"/><Relationship Id="rId20" Type="http://schemas.openxmlformats.org/officeDocument/2006/relationships/tags" Target="../tags/tag480.xml"/><Relationship Id="rId29" Type="http://schemas.openxmlformats.org/officeDocument/2006/relationships/tags" Target="../tags/tag489.xml"/><Relationship Id="rId1" Type="http://schemas.openxmlformats.org/officeDocument/2006/relationships/tags" Target="../tags/tag461.xml"/><Relationship Id="rId6" Type="http://schemas.openxmlformats.org/officeDocument/2006/relationships/tags" Target="../tags/tag466.xml"/><Relationship Id="rId11" Type="http://schemas.openxmlformats.org/officeDocument/2006/relationships/tags" Target="../tags/tag471.xml"/><Relationship Id="rId24" Type="http://schemas.openxmlformats.org/officeDocument/2006/relationships/tags" Target="../tags/tag484.xml"/><Relationship Id="rId32" Type="http://schemas.openxmlformats.org/officeDocument/2006/relationships/slide" Target="slide85.xml"/><Relationship Id="rId37" Type="http://schemas.openxmlformats.org/officeDocument/2006/relationships/slide" Target="slide63.xml"/><Relationship Id="rId40" Type="http://schemas.openxmlformats.org/officeDocument/2006/relationships/slide" Target="slide57.xml"/><Relationship Id="rId5" Type="http://schemas.openxmlformats.org/officeDocument/2006/relationships/tags" Target="../tags/tag465.xml"/><Relationship Id="rId15" Type="http://schemas.openxmlformats.org/officeDocument/2006/relationships/tags" Target="../tags/tag475.xml"/><Relationship Id="rId23" Type="http://schemas.openxmlformats.org/officeDocument/2006/relationships/tags" Target="../tags/tag483.xml"/><Relationship Id="rId28" Type="http://schemas.openxmlformats.org/officeDocument/2006/relationships/tags" Target="../tags/tag488.xml"/><Relationship Id="rId36" Type="http://schemas.openxmlformats.org/officeDocument/2006/relationships/slide" Target="slide65.xml"/><Relationship Id="rId10" Type="http://schemas.openxmlformats.org/officeDocument/2006/relationships/tags" Target="../tags/tag470.xml"/><Relationship Id="rId19" Type="http://schemas.openxmlformats.org/officeDocument/2006/relationships/tags" Target="../tags/tag47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464.xml"/><Relationship Id="rId9" Type="http://schemas.openxmlformats.org/officeDocument/2006/relationships/tags" Target="../tags/tag469.xml"/><Relationship Id="rId14" Type="http://schemas.openxmlformats.org/officeDocument/2006/relationships/tags" Target="../tags/tag474.xml"/><Relationship Id="rId22" Type="http://schemas.openxmlformats.org/officeDocument/2006/relationships/tags" Target="../tags/tag482.xml"/><Relationship Id="rId27" Type="http://schemas.openxmlformats.org/officeDocument/2006/relationships/tags" Target="../tags/tag487.xml"/><Relationship Id="rId30" Type="http://schemas.openxmlformats.org/officeDocument/2006/relationships/tags" Target="../tags/tag490.xml"/><Relationship Id="rId35" Type="http://schemas.openxmlformats.org/officeDocument/2006/relationships/slide" Target="slide67.xml"/><Relationship Id="rId8" Type="http://schemas.openxmlformats.org/officeDocument/2006/relationships/tags" Target="../tags/tag468.xml"/><Relationship Id="rId3" Type="http://schemas.openxmlformats.org/officeDocument/2006/relationships/tags" Target="../tags/tag46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3" Type="http://schemas.openxmlformats.org/officeDocument/2006/relationships/tags" Target="../tags/tag503.xml"/><Relationship Id="rId18" Type="http://schemas.openxmlformats.org/officeDocument/2006/relationships/tags" Target="../tags/tag508.xml"/><Relationship Id="rId26" Type="http://schemas.openxmlformats.org/officeDocument/2006/relationships/tags" Target="../tags/tag516.xml"/><Relationship Id="rId39" Type="http://schemas.openxmlformats.org/officeDocument/2006/relationships/slide" Target="slide59.xml"/><Relationship Id="rId21" Type="http://schemas.openxmlformats.org/officeDocument/2006/relationships/tags" Target="../tags/tag511.xml"/><Relationship Id="rId34" Type="http://schemas.openxmlformats.org/officeDocument/2006/relationships/slide" Target="slide69.xml"/><Relationship Id="rId7" Type="http://schemas.openxmlformats.org/officeDocument/2006/relationships/tags" Target="../tags/tag497.xml"/><Relationship Id="rId12" Type="http://schemas.openxmlformats.org/officeDocument/2006/relationships/tags" Target="../tags/tag502.xml"/><Relationship Id="rId17" Type="http://schemas.openxmlformats.org/officeDocument/2006/relationships/tags" Target="../tags/tag507.xml"/><Relationship Id="rId25" Type="http://schemas.openxmlformats.org/officeDocument/2006/relationships/tags" Target="../tags/tag515.xml"/><Relationship Id="rId33" Type="http://schemas.openxmlformats.org/officeDocument/2006/relationships/slide" Target="slide77.xml"/><Relationship Id="rId38" Type="http://schemas.openxmlformats.org/officeDocument/2006/relationships/slide" Target="slide61.xml"/><Relationship Id="rId2" Type="http://schemas.openxmlformats.org/officeDocument/2006/relationships/tags" Target="../tags/tag492.xml"/><Relationship Id="rId16" Type="http://schemas.openxmlformats.org/officeDocument/2006/relationships/tags" Target="../tags/tag506.xml"/><Relationship Id="rId20" Type="http://schemas.openxmlformats.org/officeDocument/2006/relationships/tags" Target="../tags/tag510.xml"/><Relationship Id="rId29" Type="http://schemas.openxmlformats.org/officeDocument/2006/relationships/tags" Target="../tags/tag519.xml"/><Relationship Id="rId1" Type="http://schemas.openxmlformats.org/officeDocument/2006/relationships/tags" Target="../tags/tag491.xml"/><Relationship Id="rId6" Type="http://schemas.openxmlformats.org/officeDocument/2006/relationships/tags" Target="../tags/tag496.xml"/><Relationship Id="rId11" Type="http://schemas.openxmlformats.org/officeDocument/2006/relationships/tags" Target="../tags/tag501.xml"/><Relationship Id="rId24" Type="http://schemas.openxmlformats.org/officeDocument/2006/relationships/tags" Target="../tags/tag514.xml"/><Relationship Id="rId32" Type="http://schemas.openxmlformats.org/officeDocument/2006/relationships/slide" Target="slide85.xml"/><Relationship Id="rId37" Type="http://schemas.openxmlformats.org/officeDocument/2006/relationships/slide" Target="slide63.xml"/><Relationship Id="rId40" Type="http://schemas.openxmlformats.org/officeDocument/2006/relationships/slide" Target="slide57.xml"/><Relationship Id="rId5" Type="http://schemas.openxmlformats.org/officeDocument/2006/relationships/tags" Target="../tags/tag495.xml"/><Relationship Id="rId15" Type="http://schemas.openxmlformats.org/officeDocument/2006/relationships/tags" Target="../tags/tag505.xml"/><Relationship Id="rId23" Type="http://schemas.openxmlformats.org/officeDocument/2006/relationships/tags" Target="../tags/tag513.xml"/><Relationship Id="rId28" Type="http://schemas.openxmlformats.org/officeDocument/2006/relationships/tags" Target="../tags/tag518.xml"/><Relationship Id="rId36" Type="http://schemas.openxmlformats.org/officeDocument/2006/relationships/slide" Target="slide65.xml"/><Relationship Id="rId10" Type="http://schemas.openxmlformats.org/officeDocument/2006/relationships/tags" Target="../tags/tag500.xml"/><Relationship Id="rId19" Type="http://schemas.openxmlformats.org/officeDocument/2006/relationships/tags" Target="../tags/tag50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494.xml"/><Relationship Id="rId9" Type="http://schemas.openxmlformats.org/officeDocument/2006/relationships/tags" Target="../tags/tag499.xml"/><Relationship Id="rId14" Type="http://schemas.openxmlformats.org/officeDocument/2006/relationships/tags" Target="../tags/tag504.xml"/><Relationship Id="rId22" Type="http://schemas.openxmlformats.org/officeDocument/2006/relationships/tags" Target="../tags/tag512.xml"/><Relationship Id="rId27" Type="http://schemas.openxmlformats.org/officeDocument/2006/relationships/tags" Target="../tags/tag517.xml"/><Relationship Id="rId30" Type="http://schemas.openxmlformats.org/officeDocument/2006/relationships/tags" Target="../tags/tag520.xml"/><Relationship Id="rId35" Type="http://schemas.openxmlformats.org/officeDocument/2006/relationships/slide" Target="slide67.xml"/><Relationship Id="rId8" Type="http://schemas.openxmlformats.org/officeDocument/2006/relationships/tags" Target="../tags/tag498.xml"/><Relationship Id="rId3" Type="http://schemas.openxmlformats.org/officeDocument/2006/relationships/tags" Target="../tags/tag493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3" Type="http://schemas.openxmlformats.org/officeDocument/2006/relationships/tags" Target="../tags/tag533.xml"/><Relationship Id="rId18" Type="http://schemas.openxmlformats.org/officeDocument/2006/relationships/tags" Target="../tags/tag538.xml"/><Relationship Id="rId26" Type="http://schemas.openxmlformats.org/officeDocument/2006/relationships/tags" Target="../tags/tag546.xml"/><Relationship Id="rId39" Type="http://schemas.openxmlformats.org/officeDocument/2006/relationships/slide" Target="slide59.xml"/><Relationship Id="rId21" Type="http://schemas.openxmlformats.org/officeDocument/2006/relationships/tags" Target="../tags/tag541.xml"/><Relationship Id="rId34" Type="http://schemas.openxmlformats.org/officeDocument/2006/relationships/slide" Target="slide69.xml"/><Relationship Id="rId7" Type="http://schemas.openxmlformats.org/officeDocument/2006/relationships/tags" Target="../tags/tag527.xml"/><Relationship Id="rId12" Type="http://schemas.openxmlformats.org/officeDocument/2006/relationships/tags" Target="../tags/tag532.xml"/><Relationship Id="rId17" Type="http://schemas.openxmlformats.org/officeDocument/2006/relationships/tags" Target="../tags/tag537.xml"/><Relationship Id="rId25" Type="http://schemas.openxmlformats.org/officeDocument/2006/relationships/tags" Target="../tags/tag545.xml"/><Relationship Id="rId33" Type="http://schemas.openxmlformats.org/officeDocument/2006/relationships/slide" Target="slide77.xml"/><Relationship Id="rId38" Type="http://schemas.openxmlformats.org/officeDocument/2006/relationships/slide" Target="slide61.xml"/><Relationship Id="rId2" Type="http://schemas.openxmlformats.org/officeDocument/2006/relationships/tags" Target="../tags/tag522.xml"/><Relationship Id="rId16" Type="http://schemas.openxmlformats.org/officeDocument/2006/relationships/tags" Target="../tags/tag536.xml"/><Relationship Id="rId20" Type="http://schemas.openxmlformats.org/officeDocument/2006/relationships/tags" Target="../tags/tag540.xml"/><Relationship Id="rId29" Type="http://schemas.openxmlformats.org/officeDocument/2006/relationships/tags" Target="../tags/tag549.xml"/><Relationship Id="rId1" Type="http://schemas.openxmlformats.org/officeDocument/2006/relationships/tags" Target="../tags/tag521.xml"/><Relationship Id="rId6" Type="http://schemas.openxmlformats.org/officeDocument/2006/relationships/tags" Target="../tags/tag526.xml"/><Relationship Id="rId11" Type="http://schemas.openxmlformats.org/officeDocument/2006/relationships/tags" Target="../tags/tag531.xml"/><Relationship Id="rId24" Type="http://schemas.openxmlformats.org/officeDocument/2006/relationships/tags" Target="../tags/tag544.xml"/><Relationship Id="rId32" Type="http://schemas.openxmlformats.org/officeDocument/2006/relationships/slide" Target="slide85.xml"/><Relationship Id="rId37" Type="http://schemas.openxmlformats.org/officeDocument/2006/relationships/slide" Target="slide63.xml"/><Relationship Id="rId40" Type="http://schemas.openxmlformats.org/officeDocument/2006/relationships/slide" Target="slide57.xml"/><Relationship Id="rId5" Type="http://schemas.openxmlformats.org/officeDocument/2006/relationships/tags" Target="../tags/tag525.xml"/><Relationship Id="rId15" Type="http://schemas.openxmlformats.org/officeDocument/2006/relationships/tags" Target="../tags/tag535.xml"/><Relationship Id="rId23" Type="http://schemas.openxmlformats.org/officeDocument/2006/relationships/tags" Target="../tags/tag543.xml"/><Relationship Id="rId28" Type="http://schemas.openxmlformats.org/officeDocument/2006/relationships/tags" Target="../tags/tag548.xml"/><Relationship Id="rId36" Type="http://schemas.openxmlformats.org/officeDocument/2006/relationships/slide" Target="slide65.xml"/><Relationship Id="rId10" Type="http://schemas.openxmlformats.org/officeDocument/2006/relationships/tags" Target="../tags/tag530.xml"/><Relationship Id="rId19" Type="http://schemas.openxmlformats.org/officeDocument/2006/relationships/tags" Target="../tags/tag53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524.xml"/><Relationship Id="rId9" Type="http://schemas.openxmlformats.org/officeDocument/2006/relationships/tags" Target="../tags/tag529.xml"/><Relationship Id="rId14" Type="http://schemas.openxmlformats.org/officeDocument/2006/relationships/tags" Target="../tags/tag534.xml"/><Relationship Id="rId22" Type="http://schemas.openxmlformats.org/officeDocument/2006/relationships/tags" Target="../tags/tag542.xml"/><Relationship Id="rId27" Type="http://schemas.openxmlformats.org/officeDocument/2006/relationships/tags" Target="../tags/tag547.xml"/><Relationship Id="rId30" Type="http://schemas.openxmlformats.org/officeDocument/2006/relationships/tags" Target="../tags/tag550.xml"/><Relationship Id="rId35" Type="http://schemas.openxmlformats.org/officeDocument/2006/relationships/slide" Target="slide67.xml"/><Relationship Id="rId8" Type="http://schemas.openxmlformats.org/officeDocument/2006/relationships/tags" Target="../tags/tag528.xml"/><Relationship Id="rId3" Type="http://schemas.openxmlformats.org/officeDocument/2006/relationships/tags" Target="../tags/tag523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3" Type="http://schemas.openxmlformats.org/officeDocument/2006/relationships/tags" Target="../tags/tag563.xml"/><Relationship Id="rId18" Type="http://schemas.openxmlformats.org/officeDocument/2006/relationships/tags" Target="../tags/tag568.xml"/><Relationship Id="rId26" Type="http://schemas.openxmlformats.org/officeDocument/2006/relationships/tags" Target="../tags/tag576.xml"/><Relationship Id="rId39" Type="http://schemas.openxmlformats.org/officeDocument/2006/relationships/slide" Target="slide59.xml"/><Relationship Id="rId21" Type="http://schemas.openxmlformats.org/officeDocument/2006/relationships/tags" Target="../tags/tag571.xml"/><Relationship Id="rId34" Type="http://schemas.openxmlformats.org/officeDocument/2006/relationships/slide" Target="slide69.xml"/><Relationship Id="rId7" Type="http://schemas.openxmlformats.org/officeDocument/2006/relationships/tags" Target="../tags/tag557.xml"/><Relationship Id="rId12" Type="http://schemas.openxmlformats.org/officeDocument/2006/relationships/tags" Target="../tags/tag562.xml"/><Relationship Id="rId17" Type="http://schemas.openxmlformats.org/officeDocument/2006/relationships/tags" Target="../tags/tag567.xml"/><Relationship Id="rId25" Type="http://schemas.openxmlformats.org/officeDocument/2006/relationships/tags" Target="../tags/tag575.xml"/><Relationship Id="rId33" Type="http://schemas.openxmlformats.org/officeDocument/2006/relationships/slide" Target="slide77.xml"/><Relationship Id="rId38" Type="http://schemas.openxmlformats.org/officeDocument/2006/relationships/slide" Target="slide61.xml"/><Relationship Id="rId2" Type="http://schemas.openxmlformats.org/officeDocument/2006/relationships/tags" Target="../tags/tag552.xml"/><Relationship Id="rId16" Type="http://schemas.openxmlformats.org/officeDocument/2006/relationships/tags" Target="../tags/tag566.xml"/><Relationship Id="rId20" Type="http://schemas.openxmlformats.org/officeDocument/2006/relationships/tags" Target="../tags/tag570.xml"/><Relationship Id="rId29" Type="http://schemas.openxmlformats.org/officeDocument/2006/relationships/tags" Target="../tags/tag579.xml"/><Relationship Id="rId1" Type="http://schemas.openxmlformats.org/officeDocument/2006/relationships/tags" Target="../tags/tag551.xml"/><Relationship Id="rId6" Type="http://schemas.openxmlformats.org/officeDocument/2006/relationships/tags" Target="../tags/tag556.xml"/><Relationship Id="rId11" Type="http://schemas.openxmlformats.org/officeDocument/2006/relationships/tags" Target="../tags/tag561.xml"/><Relationship Id="rId24" Type="http://schemas.openxmlformats.org/officeDocument/2006/relationships/tags" Target="../tags/tag574.xml"/><Relationship Id="rId32" Type="http://schemas.openxmlformats.org/officeDocument/2006/relationships/slide" Target="slide85.xml"/><Relationship Id="rId37" Type="http://schemas.openxmlformats.org/officeDocument/2006/relationships/slide" Target="slide63.xml"/><Relationship Id="rId40" Type="http://schemas.openxmlformats.org/officeDocument/2006/relationships/slide" Target="slide57.xml"/><Relationship Id="rId5" Type="http://schemas.openxmlformats.org/officeDocument/2006/relationships/tags" Target="../tags/tag555.xml"/><Relationship Id="rId15" Type="http://schemas.openxmlformats.org/officeDocument/2006/relationships/tags" Target="../tags/tag565.xml"/><Relationship Id="rId23" Type="http://schemas.openxmlformats.org/officeDocument/2006/relationships/tags" Target="../tags/tag573.xml"/><Relationship Id="rId28" Type="http://schemas.openxmlformats.org/officeDocument/2006/relationships/tags" Target="../tags/tag578.xml"/><Relationship Id="rId36" Type="http://schemas.openxmlformats.org/officeDocument/2006/relationships/slide" Target="slide65.xml"/><Relationship Id="rId10" Type="http://schemas.openxmlformats.org/officeDocument/2006/relationships/tags" Target="../tags/tag560.xml"/><Relationship Id="rId19" Type="http://schemas.openxmlformats.org/officeDocument/2006/relationships/tags" Target="../tags/tag569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554.xml"/><Relationship Id="rId9" Type="http://schemas.openxmlformats.org/officeDocument/2006/relationships/tags" Target="../tags/tag559.xml"/><Relationship Id="rId14" Type="http://schemas.openxmlformats.org/officeDocument/2006/relationships/tags" Target="../tags/tag564.xml"/><Relationship Id="rId22" Type="http://schemas.openxmlformats.org/officeDocument/2006/relationships/tags" Target="../tags/tag572.xml"/><Relationship Id="rId27" Type="http://schemas.openxmlformats.org/officeDocument/2006/relationships/tags" Target="../tags/tag577.xml"/><Relationship Id="rId30" Type="http://schemas.openxmlformats.org/officeDocument/2006/relationships/tags" Target="../tags/tag580.xml"/><Relationship Id="rId35" Type="http://schemas.openxmlformats.org/officeDocument/2006/relationships/slide" Target="slide67.xml"/><Relationship Id="rId8" Type="http://schemas.openxmlformats.org/officeDocument/2006/relationships/tags" Target="../tags/tag558.xml"/><Relationship Id="rId3" Type="http://schemas.openxmlformats.org/officeDocument/2006/relationships/tags" Target="../tags/tag553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3" Type="http://schemas.openxmlformats.org/officeDocument/2006/relationships/tags" Target="../tags/tag593.xml"/><Relationship Id="rId18" Type="http://schemas.openxmlformats.org/officeDocument/2006/relationships/tags" Target="../tags/tag598.xml"/><Relationship Id="rId26" Type="http://schemas.openxmlformats.org/officeDocument/2006/relationships/tags" Target="../tags/tag606.xml"/><Relationship Id="rId3" Type="http://schemas.openxmlformats.org/officeDocument/2006/relationships/tags" Target="../tags/tag583.xml"/><Relationship Id="rId21" Type="http://schemas.openxmlformats.org/officeDocument/2006/relationships/tags" Target="../tags/tag601.xml"/><Relationship Id="rId34" Type="http://schemas.openxmlformats.org/officeDocument/2006/relationships/slide" Target="slide69.xml"/><Relationship Id="rId7" Type="http://schemas.openxmlformats.org/officeDocument/2006/relationships/tags" Target="../tags/tag587.xml"/><Relationship Id="rId12" Type="http://schemas.openxmlformats.org/officeDocument/2006/relationships/tags" Target="../tags/tag592.xml"/><Relationship Id="rId17" Type="http://schemas.openxmlformats.org/officeDocument/2006/relationships/tags" Target="../tags/tag597.xml"/><Relationship Id="rId25" Type="http://schemas.openxmlformats.org/officeDocument/2006/relationships/tags" Target="../tags/tag605.xml"/><Relationship Id="rId33" Type="http://schemas.openxmlformats.org/officeDocument/2006/relationships/slide" Target="slide71.xml"/><Relationship Id="rId2" Type="http://schemas.openxmlformats.org/officeDocument/2006/relationships/tags" Target="../tags/tag582.xml"/><Relationship Id="rId16" Type="http://schemas.openxmlformats.org/officeDocument/2006/relationships/tags" Target="../tags/tag596.xml"/><Relationship Id="rId20" Type="http://schemas.openxmlformats.org/officeDocument/2006/relationships/tags" Target="../tags/tag600.xml"/><Relationship Id="rId29" Type="http://schemas.openxmlformats.org/officeDocument/2006/relationships/slide" Target="slide85.xml"/><Relationship Id="rId1" Type="http://schemas.openxmlformats.org/officeDocument/2006/relationships/tags" Target="../tags/tag581.xml"/><Relationship Id="rId6" Type="http://schemas.openxmlformats.org/officeDocument/2006/relationships/tags" Target="../tags/tag586.xml"/><Relationship Id="rId11" Type="http://schemas.openxmlformats.org/officeDocument/2006/relationships/tags" Target="../tags/tag591.xml"/><Relationship Id="rId24" Type="http://schemas.openxmlformats.org/officeDocument/2006/relationships/tags" Target="../tags/tag604.xml"/><Relationship Id="rId32" Type="http://schemas.openxmlformats.org/officeDocument/2006/relationships/slide" Target="slide73.xml"/><Relationship Id="rId5" Type="http://schemas.openxmlformats.org/officeDocument/2006/relationships/tags" Target="../tags/tag585.xml"/><Relationship Id="rId15" Type="http://schemas.openxmlformats.org/officeDocument/2006/relationships/tags" Target="../tags/tag595.xml"/><Relationship Id="rId23" Type="http://schemas.openxmlformats.org/officeDocument/2006/relationships/tags" Target="../tags/tag603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7.xml"/><Relationship Id="rId10" Type="http://schemas.openxmlformats.org/officeDocument/2006/relationships/tags" Target="../tags/tag590.xml"/><Relationship Id="rId19" Type="http://schemas.openxmlformats.org/officeDocument/2006/relationships/tags" Target="../tags/tag599.xml"/><Relationship Id="rId31" Type="http://schemas.openxmlformats.org/officeDocument/2006/relationships/slide" Target="slide75.xml"/><Relationship Id="rId4" Type="http://schemas.openxmlformats.org/officeDocument/2006/relationships/tags" Target="../tags/tag584.xml"/><Relationship Id="rId9" Type="http://schemas.openxmlformats.org/officeDocument/2006/relationships/tags" Target="../tags/tag589.xml"/><Relationship Id="rId14" Type="http://schemas.openxmlformats.org/officeDocument/2006/relationships/tags" Target="../tags/tag594.xml"/><Relationship Id="rId22" Type="http://schemas.openxmlformats.org/officeDocument/2006/relationships/tags" Target="../tags/tag602.xml"/><Relationship Id="rId27" Type="http://schemas.openxmlformats.org/officeDocument/2006/relationships/tags" Target="../tags/tag607.xml"/><Relationship Id="rId30" Type="http://schemas.openxmlformats.org/officeDocument/2006/relationships/slide" Target="slide77.xml"/><Relationship Id="rId35" Type="http://schemas.openxmlformats.org/officeDocument/2006/relationships/slide" Target="slide59.xml"/><Relationship Id="rId8" Type="http://schemas.openxmlformats.org/officeDocument/2006/relationships/tags" Target="../tags/tag58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3" Type="http://schemas.openxmlformats.org/officeDocument/2006/relationships/tags" Target="../tags/tag620.xml"/><Relationship Id="rId18" Type="http://schemas.openxmlformats.org/officeDocument/2006/relationships/tags" Target="../tags/tag625.xml"/><Relationship Id="rId26" Type="http://schemas.openxmlformats.org/officeDocument/2006/relationships/tags" Target="../tags/tag633.xml"/><Relationship Id="rId3" Type="http://schemas.openxmlformats.org/officeDocument/2006/relationships/tags" Target="../tags/tag610.xml"/><Relationship Id="rId21" Type="http://schemas.openxmlformats.org/officeDocument/2006/relationships/tags" Target="../tags/tag628.xml"/><Relationship Id="rId34" Type="http://schemas.openxmlformats.org/officeDocument/2006/relationships/slide" Target="slide69.xml"/><Relationship Id="rId7" Type="http://schemas.openxmlformats.org/officeDocument/2006/relationships/tags" Target="../tags/tag614.xml"/><Relationship Id="rId12" Type="http://schemas.openxmlformats.org/officeDocument/2006/relationships/tags" Target="../tags/tag619.xml"/><Relationship Id="rId17" Type="http://schemas.openxmlformats.org/officeDocument/2006/relationships/tags" Target="../tags/tag624.xml"/><Relationship Id="rId25" Type="http://schemas.openxmlformats.org/officeDocument/2006/relationships/tags" Target="../tags/tag632.xml"/><Relationship Id="rId33" Type="http://schemas.openxmlformats.org/officeDocument/2006/relationships/slide" Target="slide71.xml"/><Relationship Id="rId2" Type="http://schemas.openxmlformats.org/officeDocument/2006/relationships/tags" Target="../tags/tag609.xml"/><Relationship Id="rId16" Type="http://schemas.openxmlformats.org/officeDocument/2006/relationships/tags" Target="../tags/tag623.xml"/><Relationship Id="rId20" Type="http://schemas.openxmlformats.org/officeDocument/2006/relationships/tags" Target="../tags/tag627.xml"/><Relationship Id="rId29" Type="http://schemas.openxmlformats.org/officeDocument/2006/relationships/slide" Target="slide85.xml"/><Relationship Id="rId1" Type="http://schemas.openxmlformats.org/officeDocument/2006/relationships/tags" Target="../tags/tag608.xml"/><Relationship Id="rId6" Type="http://schemas.openxmlformats.org/officeDocument/2006/relationships/tags" Target="../tags/tag613.xml"/><Relationship Id="rId11" Type="http://schemas.openxmlformats.org/officeDocument/2006/relationships/tags" Target="../tags/tag618.xml"/><Relationship Id="rId24" Type="http://schemas.openxmlformats.org/officeDocument/2006/relationships/tags" Target="../tags/tag631.xml"/><Relationship Id="rId32" Type="http://schemas.openxmlformats.org/officeDocument/2006/relationships/slide" Target="slide73.xml"/><Relationship Id="rId5" Type="http://schemas.openxmlformats.org/officeDocument/2006/relationships/tags" Target="../tags/tag612.xml"/><Relationship Id="rId15" Type="http://schemas.openxmlformats.org/officeDocument/2006/relationships/tags" Target="../tags/tag622.xml"/><Relationship Id="rId23" Type="http://schemas.openxmlformats.org/officeDocument/2006/relationships/tags" Target="../tags/tag630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7.xml"/><Relationship Id="rId10" Type="http://schemas.openxmlformats.org/officeDocument/2006/relationships/tags" Target="../tags/tag617.xml"/><Relationship Id="rId19" Type="http://schemas.openxmlformats.org/officeDocument/2006/relationships/tags" Target="../tags/tag626.xml"/><Relationship Id="rId31" Type="http://schemas.openxmlformats.org/officeDocument/2006/relationships/slide" Target="slide75.xml"/><Relationship Id="rId4" Type="http://schemas.openxmlformats.org/officeDocument/2006/relationships/tags" Target="../tags/tag611.xml"/><Relationship Id="rId9" Type="http://schemas.openxmlformats.org/officeDocument/2006/relationships/tags" Target="../tags/tag616.xml"/><Relationship Id="rId14" Type="http://schemas.openxmlformats.org/officeDocument/2006/relationships/tags" Target="../tags/tag621.xml"/><Relationship Id="rId22" Type="http://schemas.openxmlformats.org/officeDocument/2006/relationships/tags" Target="../tags/tag629.xml"/><Relationship Id="rId27" Type="http://schemas.openxmlformats.org/officeDocument/2006/relationships/tags" Target="../tags/tag634.xml"/><Relationship Id="rId30" Type="http://schemas.openxmlformats.org/officeDocument/2006/relationships/slide" Target="slide77.xml"/><Relationship Id="rId35" Type="http://schemas.openxmlformats.org/officeDocument/2006/relationships/slide" Target="slide59.xml"/><Relationship Id="rId8" Type="http://schemas.openxmlformats.org/officeDocument/2006/relationships/tags" Target="../tags/tag615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3" Type="http://schemas.openxmlformats.org/officeDocument/2006/relationships/tags" Target="../tags/tag647.xml"/><Relationship Id="rId18" Type="http://schemas.openxmlformats.org/officeDocument/2006/relationships/tags" Target="../tags/tag652.xml"/><Relationship Id="rId26" Type="http://schemas.openxmlformats.org/officeDocument/2006/relationships/tags" Target="../tags/tag660.xml"/><Relationship Id="rId3" Type="http://schemas.openxmlformats.org/officeDocument/2006/relationships/tags" Target="../tags/tag637.xml"/><Relationship Id="rId21" Type="http://schemas.openxmlformats.org/officeDocument/2006/relationships/tags" Target="../tags/tag655.xml"/><Relationship Id="rId34" Type="http://schemas.openxmlformats.org/officeDocument/2006/relationships/slide" Target="slide69.xml"/><Relationship Id="rId7" Type="http://schemas.openxmlformats.org/officeDocument/2006/relationships/tags" Target="../tags/tag641.xml"/><Relationship Id="rId12" Type="http://schemas.openxmlformats.org/officeDocument/2006/relationships/tags" Target="../tags/tag646.xml"/><Relationship Id="rId17" Type="http://schemas.openxmlformats.org/officeDocument/2006/relationships/tags" Target="../tags/tag651.xml"/><Relationship Id="rId25" Type="http://schemas.openxmlformats.org/officeDocument/2006/relationships/tags" Target="../tags/tag659.xml"/><Relationship Id="rId33" Type="http://schemas.openxmlformats.org/officeDocument/2006/relationships/slide" Target="slide71.xml"/><Relationship Id="rId2" Type="http://schemas.openxmlformats.org/officeDocument/2006/relationships/tags" Target="../tags/tag636.xml"/><Relationship Id="rId16" Type="http://schemas.openxmlformats.org/officeDocument/2006/relationships/tags" Target="../tags/tag650.xml"/><Relationship Id="rId20" Type="http://schemas.openxmlformats.org/officeDocument/2006/relationships/tags" Target="../tags/tag654.xml"/><Relationship Id="rId29" Type="http://schemas.openxmlformats.org/officeDocument/2006/relationships/slide" Target="slide85.xml"/><Relationship Id="rId1" Type="http://schemas.openxmlformats.org/officeDocument/2006/relationships/tags" Target="../tags/tag635.xml"/><Relationship Id="rId6" Type="http://schemas.openxmlformats.org/officeDocument/2006/relationships/tags" Target="../tags/tag640.xml"/><Relationship Id="rId11" Type="http://schemas.openxmlformats.org/officeDocument/2006/relationships/tags" Target="../tags/tag645.xml"/><Relationship Id="rId24" Type="http://schemas.openxmlformats.org/officeDocument/2006/relationships/tags" Target="../tags/tag658.xml"/><Relationship Id="rId32" Type="http://schemas.openxmlformats.org/officeDocument/2006/relationships/slide" Target="slide73.xml"/><Relationship Id="rId5" Type="http://schemas.openxmlformats.org/officeDocument/2006/relationships/tags" Target="../tags/tag639.xml"/><Relationship Id="rId15" Type="http://schemas.openxmlformats.org/officeDocument/2006/relationships/tags" Target="../tags/tag649.xml"/><Relationship Id="rId23" Type="http://schemas.openxmlformats.org/officeDocument/2006/relationships/tags" Target="../tags/tag657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7.xml"/><Relationship Id="rId10" Type="http://schemas.openxmlformats.org/officeDocument/2006/relationships/tags" Target="../tags/tag644.xml"/><Relationship Id="rId19" Type="http://schemas.openxmlformats.org/officeDocument/2006/relationships/tags" Target="../tags/tag653.xml"/><Relationship Id="rId31" Type="http://schemas.openxmlformats.org/officeDocument/2006/relationships/slide" Target="slide75.xml"/><Relationship Id="rId4" Type="http://schemas.openxmlformats.org/officeDocument/2006/relationships/tags" Target="../tags/tag638.xml"/><Relationship Id="rId9" Type="http://schemas.openxmlformats.org/officeDocument/2006/relationships/tags" Target="../tags/tag643.xml"/><Relationship Id="rId14" Type="http://schemas.openxmlformats.org/officeDocument/2006/relationships/tags" Target="../tags/tag648.xml"/><Relationship Id="rId22" Type="http://schemas.openxmlformats.org/officeDocument/2006/relationships/tags" Target="../tags/tag656.xml"/><Relationship Id="rId27" Type="http://schemas.openxmlformats.org/officeDocument/2006/relationships/tags" Target="../tags/tag661.xml"/><Relationship Id="rId30" Type="http://schemas.openxmlformats.org/officeDocument/2006/relationships/slide" Target="slide77.xml"/><Relationship Id="rId35" Type="http://schemas.openxmlformats.org/officeDocument/2006/relationships/slide" Target="slide59.xml"/><Relationship Id="rId8" Type="http://schemas.openxmlformats.org/officeDocument/2006/relationships/tags" Target="../tags/tag64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3" Type="http://schemas.openxmlformats.org/officeDocument/2006/relationships/tags" Target="../tags/tag674.xml"/><Relationship Id="rId18" Type="http://schemas.openxmlformats.org/officeDocument/2006/relationships/tags" Target="../tags/tag679.xml"/><Relationship Id="rId26" Type="http://schemas.openxmlformats.org/officeDocument/2006/relationships/tags" Target="../tags/tag687.xml"/><Relationship Id="rId3" Type="http://schemas.openxmlformats.org/officeDocument/2006/relationships/tags" Target="../tags/tag664.xml"/><Relationship Id="rId21" Type="http://schemas.openxmlformats.org/officeDocument/2006/relationships/tags" Target="../tags/tag682.xml"/><Relationship Id="rId34" Type="http://schemas.openxmlformats.org/officeDocument/2006/relationships/slide" Target="slide69.xml"/><Relationship Id="rId7" Type="http://schemas.openxmlformats.org/officeDocument/2006/relationships/tags" Target="../tags/tag668.xml"/><Relationship Id="rId12" Type="http://schemas.openxmlformats.org/officeDocument/2006/relationships/tags" Target="../tags/tag673.xml"/><Relationship Id="rId17" Type="http://schemas.openxmlformats.org/officeDocument/2006/relationships/tags" Target="../tags/tag678.xml"/><Relationship Id="rId25" Type="http://schemas.openxmlformats.org/officeDocument/2006/relationships/tags" Target="../tags/tag686.xml"/><Relationship Id="rId33" Type="http://schemas.openxmlformats.org/officeDocument/2006/relationships/slide" Target="slide71.xml"/><Relationship Id="rId2" Type="http://schemas.openxmlformats.org/officeDocument/2006/relationships/tags" Target="../tags/tag663.xml"/><Relationship Id="rId16" Type="http://schemas.openxmlformats.org/officeDocument/2006/relationships/tags" Target="../tags/tag677.xml"/><Relationship Id="rId20" Type="http://schemas.openxmlformats.org/officeDocument/2006/relationships/tags" Target="../tags/tag681.xml"/><Relationship Id="rId29" Type="http://schemas.openxmlformats.org/officeDocument/2006/relationships/slide" Target="slide85.xml"/><Relationship Id="rId1" Type="http://schemas.openxmlformats.org/officeDocument/2006/relationships/tags" Target="../tags/tag662.xml"/><Relationship Id="rId6" Type="http://schemas.openxmlformats.org/officeDocument/2006/relationships/tags" Target="../tags/tag667.xml"/><Relationship Id="rId11" Type="http://schemas.openxmlformats.org/officeDocument/2006/relationships/tags" Target="../tags/tag672.xml"/><Relationship Id="rId24" Type="http://schemas.openxmlformats.org/officeDocument/2006/relationships/tags" Target="../tags/tag685.xml"/><Relationship Id="rId32" Type="http://schemas.openxmlformats.org/officeDocument/2006/relationships/slide" Target="slide73.xml"/><Relationship Id="rId5" Type="http://schemas.openxmlformats.org/officeDocument/2006/relationships/tags" Target="../tags/tag666.xml"/><Relationship Id="rId15" Type="http://schemas.openxmlformats.org/officeDocument/2006/relationships/tags" Target="../tags/tag676.xml"/><Relationship Id="rId23" Type="http://schemas.openxmlformats.org/officeDocument/2006/relationships/tags" Target="../tags/tag684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7.xml"/><Relationship Id="rId10" Type="http://schemas.openxmlformats.org/officeDocument/2006/relationships/tags" Target="../tags/tag671.xml"/><Relationship Id="rId19" Type="http://schemas.openxmlformats.org/officeDocument/2006/relationships/tags" Target="../tags/tag680.xml"/><Relationship Id="rId31" Type="http://schemas.openxmlformats.org/officeDocument/2006/relationships/slide" Target="slide75.xml"/><Relationship Id="rId4" Type="http://schemas.openxmlformats.org/officeDocument/2006/relationships/tags" Target="../tags/tag665.xml"/><Relationship Id="rId9" Type="http://schemas.openxmlformats.org/officeDocument/2006/relationships/tags" Target="../tags/tag670.xml"/><Relationship Id="rId14" Type="http://schemas.openxmlformats.org/officeDocument/2006/relationships/tags" Target="../tags/tag675.xml"/><Relationship Id="rId22" Type="http://schemas.openxmlformats.org/officeDocument/2006/relationships/tags" Target="../tags/tag683.xml"/><Relationship Id="rId27" Type="http://schemas.openxmlformats.org/officeDocument/2006/relationships/tags" Target="../tags/tag688.xml"/><Relationship Id="rId30" Type="http://schemas.openxmlformats.org/officeDocument/2006/relationships/slide" Target="slide77.xml"/><Relationship Id="rId35" Type="http://schemas.openxmlformats.org/officeDocument/2006/relationships/slide" Target="slide59.xml"/><Relationship Id="rId8" Type="http://schemas.openxmlformats.org/officeDocument/2006/relationships/tags" Target="../tags/tag669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3" Type="http://schemas.openxmlformats.org/officeDocument/2006/relationships/tags" Target="../tags/tag701.xml"/><Relationship Id="rId18" Type="http://schemas.openxmlformats.org/officeDocument/2006/relationships/tags" Target="../tags/tag706.xml"/><Relationship Id="rId26" Type="http://schemas.openxmlformats.org/officeDocument/2006/relationships/tags" Target="../tags/tag714.xml"/><Relationship Id="rId3" Type="http://schemas.openxmlformats.org/officeDocument/2006/relationships/tags" Target="../tags/tag691.xml"/><Relationship Id="rId21" Type="http://schemas.openxmlformats.org/officeDocument/2006/relationships/tags" Target="../tags/tag709.xml"/><Relationship Id="rId34" Type="http://schemas.openxmlformats.org/officeDocument/2006/relationships/slide" Target="slide69.xml"/><Relationship Id="rId7" Type="http://schemas.openxmlformats.org/officeDocument/2006/relationships/tags" Target="../tags/tag695.xml"/><Relationship Id="rId12" Type="http://schemas.openxmlformats.org/officeDocument/2006/relationships/tags" Target="../tags/tag700.xml"/><Relationship Id="rId17" Type="http://schemas.openxmlformats.org/officeDocument/2006/relationships/tags" Target="../tags/tag705.xml"/><Relationship Id="rId25" Type="http://schemas.openxmlformats.org/officeDocument/2006/relationships/tags" Target="../tags/tag713.xml"/><Relationship Id="rId33" Type="http://schemas.openxmlformats.org/officeDocument/2006/relationships/slide" Target="slide77.xml"/><Relationship Id="rId2" Type="http://schemas.openxmlformats.org/officeDocument/2006/relationships/tags" Target="../tags/tag690.xml"/><Relationship Id="rId16" Type="http://schemas.openxmlformats.org/officeDocument/2006/relationships/tags" Target="../tags/tag704.xml"/><Relationship Id="rId20" Type="http://schemas.openxmlformats.org/officeDocument/2006/relationships/tags" Target="../tags/tag708.xml"/><Relationship Id="rId29" Type="http://schemas.openxmlformats.org/officeDocument/2006/relationships/slide" Target="slide85.xml"/><Relationship Id="rId1" Type="http://schemas.openxmlformats.org/officeDocument/2006/relationships/tags" Target="../tags/tag689.xml"/><Relationship Id="rId6" Type="http://schemas.openxmlformats.org/officeDocument/2006/relationships/tags" Target="../tags/tag694.xml"/><Relationship Id="rId11" Type="http://schemas.openxmlformats.org/officeDocument/2006/relationships/tags" Target="../tags/tag699.xml"/><Relationship Id="rId24" Type="http://schemas.openxmlformats.org/officeDocument/2006/relationships/tags" Target="../tags/tag712.xml"/><Relationship Id="rId32" Type="http://schemas.openxmlformats.org/officeDocument/2006/relationships/slide" Target="slide79.xml"/><Relationship Id="rId5" Type="http://schemas.openxmlformats.org/officeDocument/2006/relationships/tags" Target="../tags/tag693.xml"/><Relationship Id="rId15" Type="http://schemas.openxmlformats.org/officeDocument/2006/relationships/tags" Target="../tags/tag703.xml"/><Relationship Id="rId23" Type="http://schemas.openxmlformats.org/officeDocument/2006/relationships/tags" Target="../tags/tag711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7.xml"/><Relationship Id="rId10" Type="http://schemas.openxmlformats.org/officeDocument/2006/relationships/tags" Target="../tags/tag698.xml"/><Relationship Id="rId19" Type="http://schemas.openxmlformats.org/officeDocument/2006/relationships/tags" Target="../tags/tag707.xml"/><Relationship Id="rId31" Type="http://schemas.openxmlformats.org/officeDocument/2006/relationships/slide" Target="slide81.xml"/><Relationship Id="rId4" Type="http://schemas.openxmlformats.org/officeDocument/2006/relationships/tags" Target="../tags/tag692.xml"/><Relationship Id="rId9" Type="http://schemas.openxmlformats.org/officeDocument/2006/relationships/tags" Target="../tags/tag697.xml"/><Relationship Id="rId14" Type="http://schemas.openxmlformats.org/officeDocument/2006/relationships/tags" Target="../tags/tag702.xml"/><Relationship Id="rId22" Type="http://schemas.openxmlformats.org/officeDocument/2006/relationships/tags" Target="../tags/tag710.xml"/><Relationship Id="rId27" Type="http://schemas.openxmlformats.org/officeDocument/2006/relationships/tags" Target="../tags/tag715.xml"/><Relationship Id="rId30" Type="http://schemas.openxmlformats.org/officeDocument/2006/relationships/slide" Target="slide83.xml"/><Relationship Id="rId35" Type="http://schemas.openxmlformats.org/officeDocument/2006/relationships/slide" Target="slide59.xml"/><Relationship Id="rId8" Type="http://schemas.openxmlformats.org/officeDocument/2006/relationships/tags" Target="../tags/tag696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3" Type="http://schemas.openxmlformats.org/officeDocument/2006/relationships/tags" Target="../tags/tag728.xml"/><Relationship Id="rId18" Type="http://schemas.openxmlformats.org/officeDocument/2006/relationships/tags" Target="../tags/tag733.xml"/><Relationship Id="rId26" Type="http://schemas.openxmlformats.org/officeDocument/2006/relationships/tags" Target="../tags/tag741.xml"/><Relationship Id="rId3" Type="http://schemas.openxmlformats.org/officeDocument/2006/relationships/tags" Target="../tags/tag718.xml"/><Relationship Id="rId21" Type="http://schemas.openxmlformats.org/officeDocument/2006/relationships/tags" Target="../tags/tag736.xml"/><Relationship Id="rId34" Type="http://schemas.openxmlformats.org/officeDocument/2006/relationships/slide" Target="slide69.xml"/><Relationship Id="rId7" Type="http://schemas.openxmlformats.org/officeDocument/2006/relationships/tags" Target="../tags/tag722.xml"/><Relationship Id="rId12" Type="http://schemas.openxmlformats.org/officeDocument/2006/relationships/tags" Target="../tags/tag727.xml"/><Relationship Id="rId17" Type="http://schemas.openxmlformats.org/officeDocument/2006/relationships/tags" Target="../tags/tag732.xml"/><Relationship Id="rId25" Type="http://schemas.openxmlformats.org/officeDocument/2006/relationships/tags" Target="../tags/tag740.xml"/><Relationship Id="rId33" Type="http://schemas.openxmlformats.org/officeDocument/2006/relationships/slide" Target="slide77.xml"/><Relationship Id="rId2" Type="http://schemas.openxmlformats.org/officeDocument/2006/relationships/tags" Target="../tags/tag717.xml"/><Relationship Id="rId16" Type="http://schemas.openxmlformats.org/officeDocument/2006/relationships/tags" Target="../tags/tag731.xml"/><Relationship Id="rId20" Type="http://schemas.openxmlformats.org/officeDocument/2006/relationships/tags" Target="../tags/tag735.xml"/><Relationship Id="rId29" Type="http://schemas.openxmlformats.org/officeDocument/2006/relationships/slide" Target="slide85.xml"/><Relationship Id="rId1" Type="http://schemas.openxmlformats.org/officeDocument/2006/relationships/tags" Target="../tags/tag716.xml"/><Relationship Id="rId6" Type="http://schemas.openxmlformats.org/officeDocument/2006/relationships/tags" Target="../tags/tag721.xml"/><Relationship Id="rId11" Type="http://schemas.openxmlformats.org/officeDocument/2006/relationships/tags" Target="../tags/tag726.xml"/><Relationship Id="rId24" Type="http://schemas.openxmlformats.org/officeDocument/2006/relationships/tags" Target="../tags/tag739.xml"/><Relationship Id="rId32" Type="http://schemas.openxmlformats.org/officeDocument/2006/relationships/slide" Target="slide79.xml"/><Relationship Id="rId5" Type="http://schemas.openxmlformats.org/officeDocument/2006/relationships/tags" Target="../tags/tag720.xml"/><Relationship Id="rId15" Type="http://schemas.openxmlformats.org/officeDocument/2006/relationships/tags" Target="../tags/tag730.xml"/><Relationship Id="rId23" Type="http://schemas.openxmlformats.org/officeDocument/2006/relationships/tags" Target="../tags/tag738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7.xml"/><Relationship Id="rId10" Type="http://schemas.openxmlformats.org/officeDocument/2006/relationships/tags" Target="../tags/tag725.xml"/><Relationship Id="rId19" Type="http://schemas.openxmlformats.org/officeDocument/2006/relationships/tags" Target="../tags/tag734.xml"/><Relationship Id="rId31" Type="http://schemas.openxmlformats.org/officeDocument/2006/relationships/slide" Target="slide81.xml"/><Relationship Id="rId4" Type="http://schemas.openxmlformats.org/officeDocument/2006/relationships/tags" Target="../tags/tag719.xml"/><Relationship Id="rId9" Type="http://schemas.openxmlformats.org/officeDocument/2006/relationships/tags" Target="../tags/tag724.xml"/><Relationship Id="rId14" Type="http://schemas.openxmlformats.org/officeDocument/2006/relationships/tags" Target="../tags/tag729.xml"/><Relationship Id="rId22" Type="http://schemas.openxmlformats.org/officeDocument/2006/relationships/tags" Target="../tags/tag737.xml"/><Relationship Id="rId27" Type="http://schemas.openxmlformats.org/officeDocument/2006/relationships/tags" Target="../tags/tag742.xml"/><Relationship Id="rId30" Type="http://schemas.openxmlformats.org/officeDocument/2006/relationships/slide" Target="slide83.xml"/><Relationship Id="rId35" Type="http://schemas.openxmlformats.org/officeDocument/2006/relationships/slide" Target="slide59.xml"/><Relationship Id="rId8" Type="http://schemas.openxmlformats.org/officeDocument/2006/relationships/tags" Target="../tags/tag7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3" Type="http://schemas.openxmlformats.org/officeDocument/2006/relationships/tags" Target="../tags/tag755.xml"/><Relationship Id="rId18" Type="http://schemas.openxmlformats.org/officeDocument/2006/relationships/tags" Target="../tags/tag760.xml"/><Relationship Id="rId26" Type="http://schemas.openxmlformats.org/officeDocument/2006/relationships/tags" Target="../tags/tag768.xml"/><Relationship Id="rId3" Type="http://schemas.openxmlformats.org/officeDocument/2006/relationships/tags" Target="../tags/tag745.xml"/><Relationship Id="rId21" Type="http://schemas.openxmlformats.org/officeDocument/2006/relationships/tags" Target="../tags/tag763.xml"/><Relationship Id="rId34" Type="http://schemas.openxmlformats.org/officeDocument/2006/relationships/slide" Target="slide69.xml"/><Relationship Id="rId7" Type="http://schemas.openxmlformats.org/officeDocument/2006/relationships/tags" Target="../tags/tag749.xml"/><Relationship Id="rId12" Type="http://schemas.openxmlformats.org/officeDocument/2006/relationships/tags" Target="../tags/tag754.xml"/><Relationship Id="rId17" Type="http://schemas.openxmlformats.org/officeDocument/2006/relationships/tags" Target="../tags/tag759.xml"/><Relationship Id="rId25" Type="http://schemas.openxmlformats.org/officeDocument/2006/relationships/tags" Target="../tags/tag767.xml"/><Relationship Id="rId33" Type="http://schemas.openxmlformats.org/officeDocument/2006/relationships/slide" Target="slide77.xml"/><Relationship Id="rId2" Type="http://schemas.openxmlformats.org/officeDocument/2006/relationships/tags" Target="../tags/tag744.xml"/><Relationship Id="rId16" Type="http://schemas.openxmlformats.org/officeDocument/2006/relationships/tags" Target="../tags/tag758.xml"/><Relationship Id="rId20" Type="http://schemas.openxmlformats.org/officeDocument/2006/relationships/tags" Target="../tags/tag762.xml"/><Relationship Id="rId29" Type="http://schemas.openxmlformats.org/officeDocument/2006/relationships/slide" Target="slide85.xml"/><Relationship Id="rId1" Type="http://schemas.openxmlformats.org/officeDocument/2006/relationships/tags" Target="../tags/tag743.xml"/><Relationship Id="rId6" Type="http://schemas.openxmlformats.org/officeDocument/2006/relationships/tags" Target="../tags/tag748.xml"/><Relationship Id="rId11" Type="http://schemas.openxmlformats.org/officeDocument/2006/relationships/tags" Target="../tags/tag753.xml"/><Relationship Id="rId24" Type="http://schemas.openxmlformats.org/officeDocument/2006/relationships/tags" Target="../tags/tag766.xml"/><Relationship Id="rId32" Type="http://schemas.openxmlformats.org/officeDocument/2006/relationships/slide" Target="slide79.xml"/><Relationship Id="rId5" Type="http://schemas.openxmlformats.org/officeDocument/2006/relationships/tags" Target="../tags/tag747.xml"/><Relationship Id="rId15" Type="http://schemas.openxmlformats.org/officeDocument/2006/relationships/tags" Target="../tags/tag757.xml"/><Relationship Id="rId23" Type="http://schemas.openxmlformats.org/officeDocument/2006/relationships/tags" Target="../tags/tag765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7.xml"/><Relationship Id="rId10" Type="http://schemas.openxmlformats.org/officeDocument/2006/relationships/tags" Target="../tags/tag752.xml"/><Relationship Id="rId19" Type="http://schemas.openxmlformats.org/officeDocument/2006/relationships/tags" Target="../tags/tag761.xml"/><Relationship Id="rId31" Type="http://schemas.openxmlformats.org/officeDocument/2006/relationships/slide" Target="slide81.xml"/><Relationship Id="rId4" Type="http://schemas.openxmlformats.org/officeDocument/2006/relationships/tags" Target="../tags/tag746.xml"/><Relationship Id="rId9" Type="http://schemas.openxmlformats.org/officeDocument/2006/relationships/tags" Target="../tags/tag751.xml"/><Relationship Id="rId14" Type="http://schemas.openxmlformats.org/officeDocument/2006/relationships/tags" Target="../tags/tag756.xml"/><Relationship Id="rId22" Type="http://schemas.openxmlformats.org/officeDocument/2006/relationships/tags" Target="../tags/tag764.xml"/><Relationship Id="rId27" Type="http://schemas.openxmlformats.org/officeDocument/2006/relationships/tags" Target="../tags/tag769.xml"/><Relationship Id="rId30" Type="http://schemas.openxmlformats.org/officeDocument/2006/relationships/slide" Target="slide83.xml"/><Relationship Id="rId35" Type="http://schemas.openxmlformats.org/officeDocument/2006/relationships/slide" Target="slide59.xml"/><Relationship Id="rId8" Type="http://schemas.openxmlformats.org/officeDocument/2006/relationships/tags" Target="../tags/tag750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3" Type="http://schemas.openxmlformats.org/officeDocument/2006/relationships/tags" Target="../tags/tag782.xml"/><Relationship Id="rId18" Type="http://schemas.openxmlformats.org/officeDocument/2006/relationships/tags" Target="../tags/tag787.xml"/><Relationship Id="rId26" Type="http://schemas.openxmlformats.org/officeDocument/2006/relationships/tags" Target="../tags/tag795.xml"/><Relationship Id="rId3" Type="http://schemas.openxmlformats.org/officeDocument/2006/relationships/tags" Target="../tags/tag772.xml"/><Relationship Id="rId21" Type="http://schemas.openxmlformats.org/officeDocument/2006/relationships/tags" Target="../tags/tag790.xml"/><Relationship Id="rId34" Type="http://schemas.openxmlformats.org/officeDocument/2006/relationships/slide" Target="slide69.xml"/><Relationship Id="rId7" Type="http://schemas.openxmlformats.org/officeDocument/2006/relationships/tags" Target="../tags/tag776.xml"/><Relationship Id="rId12" Type="http://schemas.openxmlformats.org/officeDocument/2006/relationships/tags" Target="../tags/tag781.xml"/><Relationship Id="rId17" Type="http://schemas.openxmlformats.org/officeDocument/2006/relationships/tags" Target="../tags/tag786.xml"/><Relationship Id="rId25" Type="http://schemas.openxmlformats.org/officeDocument/2006/relationships/tags" Target="../tags/tag794.xml"/><Relationship Id="rId33" Type="http://schemas.openxmlformats.org/officeDocument/2006/relationships/slide" Target="slide77.xml"/><Relationship Id="rId2" Type="http://schemas.openxmlformats.org/officeDocument/2006/relationships/tags" Target="../tags/tag771.xml"/><Relationship Id="rId16" Type="http://schemas.openxmlformats.org/officeDocument/2006/relationships/tags" Target="../tags/tag785.xml"/><Relationship Id="rId20" Type="http://schemas.openxmlformats.org/officeDocument/2006/relationships/tags" Target="../tags/tag789.xml"/><Relationship Id="rId29" Type="http://schemas.openxmlformats.org/officeDocument/2006/relationships/slide" Target="slide85.xml"/><Relationship Id="rId1" Type="http://schemas.openxmlformats.org/officeDocument/2006/relationships/tags" Target="../tags/tag770.xml"/><Relationship Id="rId6" Type="http://schemas.openxmlformats.org/officeDocument/2006/relationships/tags" Target="../tags/tag775.xml"/><Relationship Id="rId11" Type="http://schemas.openxmlformats.org/officeDocument/2006/relationships/tags" Target="../tags/tag780.xml"/><Relationship Id="rId24" Type="http://schemas.openxmlformats.org/officeDocument/2006/relationships/tags" Target="../tags/tag793.xml"/><Relationship Id="rId32" Type="http://schemas.openxmlformats.org/officeDocument/2006/relationships/slide" Target="slide79.xml"/><Relationship Id="rId5" Type="http://schemas.openxmlformats.org/officeDocument/2006/relationships/tags" Target="../tags/tag774.xml"/><Relationship Id="rId15" Type="http://schemas.openxmlformats.org/officeDocument/2006/relationships/tags" Target="../tags/tag784.xml"/><Relationship Id="rId23" Type="http://schemas.openxmlformats.org/officeDocument/2006/relationships/tags" Target="../tags/tag792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7.xml"/><Relationship Id="rId10" Type="http://schemas.openxmlformats.org/officeDocument/2006/relationships/tags" Target="../tags/tag779.xml"/><Relationship Id="rId19" Type="http://schemas.openxmlformats.org/officeDocument/2006/relationships/tags" Target="../tags/tag788.xml"/><Relationship Id="rId31" Type="http://schemas.openxmlformats.org/officeDocument/2006/relationships/slide" Target="slide81.xml"/><Relationship Id="rId4" Type="http://schemas.openxmlformats.org/officeDocument/2006/relationships/tags" Target="../tags/tag773.xml"/><Relationship Id="rId9" Type="http://schemas.openxmlformats.org/officeDocument/2006/relationships/tags" Target="../tags/tag778.xml"/><Relationship Id="rId14" Type="http://schemas.openxmlformats.org/officeDocument/2006/relationships/tags" Target="../tags/tag783.xml"/><Relationship Id="rId22" Type="http://schemas.openxmlformats.org/officeDocument/2006/relationships/tags" Target="../tags/tag791.xml"/><Relationship Id="rId27" Type="http://schemas.openxmlformats.org/officeDocument/2006/relationships/tags" Target="../tags/tag796.xml"/><Relationship Id="rId30" Type="http://schemas.openxmlformats.org/officeDocument/2006/relationships/slide" Target="slide83.xml"/><Relationship Id="rId35" Type="http://schemas.openxmlformats.org/officeDocument/2006/relationships/slide" Target="slide59.xml"/><Relationship Id="rId8" Type="http://schemas.openxmlformats.org/officeDocument/2006/relationships/tags" Target="../tags/tag77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3" Type="http://schemas.openxmlformats.org/officeDocument/2006/relationships/tags" Target="../tags/tag809.xml"/><Relationship Id="rId18" Type="http://schemas.openxmlformats.org/officeDocument/2006/relationships/tags" Target="../tags/tag814.xml"/><Relationship Id="rId26" Type="http://schemas.openxmlformats.org/officeDocument/2006/relationships/tags" Target="../tags/tag822.xml"/><Relationship Id="rId39" Type="http://schemas.openxmlformats.org/officeDocument/2006/relationships/slide" Target="slide59.xml"/><Relationship Id="rId21" Type="http://schemas.openxmlformats.org/officeDocument/2006/relationships/tags" Target="../tags/tag817.xml"/><Relationship Id="rId34" Type="http://schemas.openxmlformats.org/officeDocument/2006/relationships/slide" Target="slide89.xml"/><Relationship Id="rId7" Type="http://schemas.openxmlformats.org/officeDocument/2006/relationships/tags" Target="../tags/tag803.xml"/><Relationship Id="rId12" Type="http://schemas.openxmlformats.org/officeDocument/2006/relationships/tags" Target="../tags/tag808.xml"/><Relationship Id="rId17" Type="http://schemas.openxmlformats.org/officeDocument/2006/relationships/tags" Target="../tags/tag813.xml"/><Relationship Id="rId25" Type="http://schemas.openxmlformats.org/officeDocument/2006/relationships/tags" Target="../tags/tag821.xml"/><Relationship Id="rId33" Type="http://schemas.openxmlformats.org/officeDocument/2006/relationships/slide" Target="slide91.xml"/><Relationship Id="rId38" Type="http://schemas.openxmlformats.org/officeDocument/2006/relationships/slide" Target="slide69.xml"/><Relationship Id="rId2" Type="http://schemas.openxmlformats.org/officeDocument/2006/relationships/tags" Target="../tags/tag798.xml"/><Relationship Id="rId16" Type="http://schemas.openxmlformats.org/officeDocument/2006/relationships/tags" Target="../tags/tag812.xml"/><Relationship Id="rId20" Type="http://schemas.openxmlformats.org/officeDocument/2006/relationships/tags" Target="../tags/tag816.xml"/><Relationship Id="rId29" Type="http://schemas.openxmlformats.org/officeDocument/2006/relationships/tags" Target="../tags/tag825.xml"/><Relationship Id="rId1" Type="http://schemas.openxmlformats.org/officeDocument/2006/relationships/tags" Target="../tags/tag797.xml"/><Relationship Id="rId6" Type="http://schemas.openxmlformats.org/officeDocument/2006/relationships/tags" Target="../tags/tag802.xml"/><Relationship Id="rId11" Type="http://schemas.openxmlformats.org/officeDocument/2006/relationships/tags" Target="../tags/tag807.xml"/><Relationship Id="rId24" Type="http://schemas.openxmlformats.org/officeDocument/2006/relationships/tags" Target="../tags/tag820.xml"/><Relationship Id="rId32" Type="http://schemas.openxmlformats.org/officeDocument/2006/relationships/slide" Target="slide93.xml"/><Relationship Id="rId37" Type="http://schemas.openxmlformats.org/officeDocument/2006/relationships/slide" Target="slide77.xml"/><Relationship Id="rId40" Type="http://schemas.openxmlformats.org/officeDocument/2006/relationships/slide" Target="slide57.xml"/><Relationship Id="rId5" Type="http://schemas.openxmlformats.org/officeDocument/2006/relationships/tags" Target="../tags/tag801.xml"/><Relationship Id="rId15" Type="http://schemas.openxmlformats.org/officeDocument/2006/relationships/tags" Target="../tags/tag811.xml"/><Relationship Id="rId23" Type="http://schemas.openxmlformats.org/officeDocument/2006/relationships/tags" Target="../tags/tag819.xml"/><Relationship Id="rId28" Type="http://schemas.openxmlformats.org/officeDocument/2006/relationships/tags" Target="../tags/tag824.xml"/><Relationship Id="rId36" Type="http://schemas.openxmlformats.org/officeDocument/2006/relationships/slide" Target="slide85.xml"/><Relationship Id="rId10" Type="http://schemas.openxmlformats.org/officeDocument/2006/relationships/tags" Target="../tags/tag806.xml"/><Relationship Id="rId19" Type="http://schemas.openxmlformats.org/officeDocument/2006/relationships/tags" Target="../tags/tag815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800.xml"/><Relationship Id="rId9" Type="http://schemas.openxmlformats.org/officeDocument/2006/relationships/tags" Target="../tags/tag805.xml"/><Relationship Id="rId14" Type="http://schemas.openxmlformats.org/officeDocument/2006/relationships/tags" Target="../tags/tag810.xml"/><Relationship Id="rId22" Type="http://schemas.openxmlformats.org/officeDocument/2006/relationships/tags" Target="../tags/tag818.xml"/><Relationship Id="rId27" Type="http://schemas.openxmlformats.org/officeDocument/2006/relationships/tags" Target="../tags/tag823.xml"/><Relationship Id="rId30" Type="http://schemas.openxmlformats.org/officeDocument/2006/relationships/tags" Target="../tags/tag826.xml"/><Relationship Id="rId35" Type="http://schemas.openxmlformats.org/officeDocument/2006/relationships/slide" Target="slide87.xml"/><Relationship Id="rId8" Type="http://schemas.openxmlformats.org/officeDocument/2006/relationships/tags" Target="../tags/tag804.xml"/><Relationship Id="rId3" Type="http://schemas.openxmlformats.org/officeDocument/2006/relationships/tags" Target="../tags/tag799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3" Type="http://schemas.openxmlformats.org/officeDocument/2006/relationships/tags" Target="../tags/tag839.xml"/><Relationship Id="rId18" Type="http://schemas.openxmlformats.org/officeDocument/2006/relationships/tags" Target="../tags/tag844.xml"/><Relationship Id="rId26" Type="http://schemas.openxmlformats.org/officeDocument/2006/relationships/tags" Target="../tags/tag852.xml"/><Relationship Id="rId39" Type="http://schemas.openxmlformats.org/officeDocument/2006/relationships/slide" Target="slide59.xml"/><Relationship Id="rId21" Type="http://schemas.openxmlformats.org/officeDocument/2006/relationships/tags" Target="../tags/tag847.xml"/><Relationship Id="rId34" Type="http://schemas.openxmlformats.org/officeDocument/2006/relationships/slide" Target="slide89.xml"/><Relationship Id="rId7" Type="http://schemas.openxmlformats.org/officeDocument/2006/relationships/tags" Target="../tags/tag833.xml"/><Relationship Id="rId12" Type="http://schemas.openxmlformats.org/officeDocument/2006/relationships/tags" Target="../tags/tag838.xml"/><Relationship Id="rId17" Type="http://schemas.openxmlformats.org/officeDocument/2006/relationships/tags" Target="../tags/tag843.xml"/><Relationship Id="rId25" Type="http://schemas.openxmlformats.org/officeDocument/2006/relationships/tags" Target="../tags/tag851.xml"/><Relationship Id="rId33" Type="http://schemas.openxmlformats.org/officeDocument/2006/relationships/slide" Target="slide91.xml"/><Relationship Id="rId38" Type="http://schemas.openxmlformats.org/officeDocument/2006/relationships/slide" Target="slide69.xml"/><Relationship Id="rId2" Type="http://schemas.openxmlformats.org/officeDocument/2006/relationships/tags" Target="../tags/tag828.xml"/><Relationship Id="rId16" Type="http://schemas.openxmlformats.org/officeDocument/2006/relationships/tags" Target="../tags/tag842.xml"/><Relationship Id="rId20" Type="http://schemas.openxmlformats.org/officeDocument/2006/relationships/tags" Target="../tags/tag846.xml"/><Relationship Id="rId29" Type="http://schemas.openxmlformats.org/officeDocument/2006/relationships/tags" Target="../tags/tag855.xml"/><Relationship Id="rId1" Type="http://schemas.openxmlformats.org/officeDocument/2006/relationships/tags" Target="../tags/tag827.xml"/><Relationship Id="rId6" Type="http://schemas.openxmlformats.org/officeDocument/2006/relationships/tags" Target="../tags/tag832.xml"/><Relationship Id="rId11" Type="http://schemas.openxmlformats.org/officeDocument/2006/relationships/tags" Target="../tags/tag837.xml"/><Relationship Id="rId24" Type="http://schemas.openxmlformats.org/officeDocument/2006/relationships/tags" Target="../tags/tag850.xml"/><Relationship Id="rId32" Type="http://schemas.openxmlformats.org/officeDocument/2006/relationships/slide" Target="slide93.xml"/><Relationship Id="rId37" Type="http://schemas.openxmlformats.org/officeDocument/2006/relationships/slide" Target="slide77.xml"/><Relationship Id="rId40" Type="http://schemas.openxmlformats.org/officeDocument/2006/relationships/slide" Target="slide57.xml"/><Relationship Id="rId5" Type="http://schemas.openxmlformats.org/officeDocument/2006/relationships/tags" Target="../tags/tag831.xml"/><Relationship Id="rId15" Type="http://schemas.openxmlformats.org/officeDocument/2006/relationships/tags" Target="../tags/tag841.xml"/><Relationship Id="rId23" Type="http://schemas.openxmlformats.org/officeDocument/2006/relationships/tags" Target="../tags/tag849.xml"/><Relationship Id="rId28" Type="http://schemas.openxmlformats.org/officeDocument/2006/relationships/tags" Target="../tags/tag854.xml"/><Relationship Id="rId36" Type="http://schemas.openxmlformats.org/officeDocument/2006/relationships/slide" Target="slide85.xml"/><Relationship Id="rId10" Type="http://schemas.openxmlformats.org/officeDocument/2006/relationships/tags" Target="../tags/tag836.xml"/><Relationship Id="rId19" Type="http://schemas.openxmlformats.org/officeDocument/2006/relationships/tags" Target="../tags/tag845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830.xml"/><Relationship Id="rId9" Type="http://schemas.openxmlformats.org/officeDocument/2006/relationships/tags" Target="../tags/tag835.xml"/><Relationship Id="rId14" Type="http://schemas.openxmlformats.org/officeDocument/2006/relationships/tags" Target="../tags/tag840.xml"/><Relationship Id="rId22" Type="http://schemas.openxmlformats.org/officeDocument/2006/relationships/tags" Target="../tags/tag848.xml"/><Relationship Id="rId27" Type="http://schemas.openxmlformats.org/officeDocument/2006/relationships/tags" Target="../tags/tag853.xml"/><Relationship Id="rId30" Type="http://schemas.openxmlformats.org/officeDocument/2006/relationships/tags" Target="../tags/tag856.xml"/><Relationship Id="rId35" Type="http://schemas.openxmlformats.org/officeDocument/2006/relationships/slide" Target="slide87.xml"/><Relationship Id="rId8" Type="http://schemas.openxmlformats.org/officeDocument/2006/relationships/tags" Target="../tags/tag834.xml"/><Relationship Id="rId3" Type="http://schemas.openxmlformats.org/officeDocument/2006/relationships/tags" Target="../tags/tag829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13" Type="http://schemas.openxmlformats.org/officeDocument/2006/relationships/tags" Target="../tags/tag869.xml"/><Relationship Id="rId18" Type="http://schemas.openxmlformats.org/officeDocument/2006/relationships/tags" Target="../tags/tag874.xml"/><Relationship Id="rId26" Type="http://schemas.openxmlformats.org/officeDocument/2006/relationships/tags" Target="../tags/tag882.xml"/><Relationship Id="rId39" Type="http://schemas.openxmlformats.org/officeDocument/2006/relationships/slide" Target="slide59.xml"/><Relationship Id="rId21" Type="http://schemas.openxmlformats.org/officeDocument/2006/relationships/tags" Target="../tags/tag877.xml"/><Relationship Id="rId34" Type="http://schemas.openxmlformats.org/officeDocument/2006/relationships/slide" Target="slide89.xml"/><Relationship Id="rId7" Type="http://schemas.openxmlformats.org/officeDocument/2006/relationships/tags" Target="../tags/tag863.xml"/><Relationship Id="rId12" Type="http://schemas.openxmlformats.org/officeDocument/2006/relationships/tags" Target="../tags/tag868.xml"/><Relationship Id="rId17" Type="http://schemas.openxmlformats.org/officeDocument/2006/relationships/tags" Target="../tags/tag873.xml"/><Relationship Id="rId25" Type="http://schemas.openxmlformats.org/officeDocument/2006/relationships/tags" Target="../tags/tag881.xml"/><Relationship Id="rId33" Type="http://schemas.openxmlformats.org/officeDocument/2006/relationships/slide" Target="slide91.xml"/><Relationship Id="rId38" Type="http://schemas.openxmlformats.org/officeDocument/2006/relationships/slide" Target="slide69.xml"/><Relationship Id="rId2" Type="http://schemas.openxmlformats.org/officeDocument/2006/relationships/tags" Target="../tags/tag858.xml"/><Relationship Id="rId16" Type="http://schemas.openxmlformats.org/officeDocument/2006/relationships/tags" Target="../tags/tag872.xml"/><Relationship Id="rId20" Type="http://schemas.openxmlformats.org/officeDocument/2006/relationships/tags" Target="../tags/tag876.xml"/><Relationship Id="rId29" Type="http://schemas.openxmlformats.org/officeDocument/2006/relationships/tags" Target="../tags/tag885.xml"/><Relationship Id="rId1" Type="http://schemas.openxmlformats.org/officeDocument/2006/relationships/tags" Target="../tags/tag857.xml"/><Relationship Id="rId6" Type="http://schemas.openxmlformats.org/officeDocument/2006/relationships/tags" Target="../tags/tag862.xml"/><Relationship Id="rId11" Type="http://schemas.openxmlformats.org/officeDocument/2006/relationships/tags" Target="../tags/tag867.xml"/><Relationship Id="rId24" Type="http://schemas.openxmlformats.org/officeDocument/2006/relationships/tags" Target="../tags/tag880.xml"/><Relationship Id="rId32" Type="http://schemas.openxmlformats.org/officeDocument/2006/relationships/slide" Target="slide93.xml"/><Relationship Id="rId37" Type="http://schemas.openxmlformats.org/officeDocument/2006/relationships/slide" Target="slide77.xml"/><Relationship Id="rId40" Type="http://schemas.openxmlformats.org/officeDocument/2006/relationships/slide" Target="slide57.xml"/><Relationship Id="rId5" Type="http://schemas.openxmlformats.org/officeDocument/2006/relationships/tags" Target="../tags/tag861.xml"/><Relationship Id="rId15" Type="http://schemas.openxmlformats.org/officeDocument/2006/relationships/tags" Target="../tags/tag871.xml"/><Relationship Id="rId23" Type="http://schemas.openxmlformats.org/officeDocument/2006/relationships/tags" Target="../tags/tag879.xml"/><Relationship Id="rId28" Type="http://schemas.openxmlformats.org/officeDocument/2006/relationships/tags" Target="../tags/tag884.xml"/><Relationship Id="rId36" Type="http://schemas.openxmlformats.org/officeDocument/2006/relationships/slide" Target="slide85.xml"/><Relationship Id="rId10" Type="http://schemas.openxmlformats.org/officeDocument/2006/relationships/tags" Target="../tags/tag866.xml"/><Relationship Id="rId19" Type="http://schemas.openxmlformats.org/officeDocument/2006/relationships/tags" Target="../tags/tag875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860.xml"/><Relationship Id="rId9" Type="http://schemas.openxmlformats.org/officeDocument/2006/relationships/tags" Target="../tags/tag865.xml"/><Relationship Id="rId14" Type="http://schemas.openxmlformats.org/officeDocument/2006/relationships/tags" Target="../tags/tag870.xml"/><Relationship Id="rId22" Type="http://schemas.openxmlformats.org/officeDocument/2006/relationships/tags" Target="../tags/tag878.xml"/><Relationship Id="rId27" Type="http://schemas.openxmlformats.org/officeDocument/2006/relationships/tags" Target="../tags/tag883.xml"/><Relationship Id="rId30" Type="http://schemas.openxmlformats.org/officeDocument/2006/relationships/tags" Target="../tags/tag886.xml"/><Relationship Id="rId35" Type="http://schemas.openxmlformats.org/officeDocument/2006/relationships/slide" Target="slide87.xml"/><Relationship Id="rId8" Type="http://schemas.openxmlformats.org/officeDocument/2006/relationships/tags" Target="../tags/tag864.xml"/><Relationship Id="rId3" Type="http://schemas.openxmlformats.org/officeDocument/2006/relationships/tags" Target="../tags/tag859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26" Type="http://schemas.openxmlformats.org/officeDocument/2006/relationships/tags" Target="../tags/tag86.xml"/><Relationship Id="rId39" Type="http://schemas.openxmlformats.org/officeDocument/2006/relationships/image" Target="../media/image1.emf"/><Relationship Id="rId21" Type="http://schemas.openxmlformats.org/officeDocument/2006/relationships/tags" Target="../tags/tag81.xml"/><Relationship Id="rId34" Type="http://schemas.openxmlformats.org/officeDocument/2006/relationships/slide" Target="slide55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tags" Target="../tags/tag85.xml"/><Relationship Id="rId33" Type="http://schemas.openxmlformats.org/officeDocument/2006/relationships/slide" Target="slide95.xml"/><Relationship Id="rId38" Type="http://schemas.openxmlformats.org/officeDocument/2006/relationships/oleObject" Target="../embeddings/oleObject7.bin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29" Type="http://schemas.openxmlformats.org/officeDocument/2006/relationships/slideLayout" Target="../slideLayouts/slideLayout6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24" Type="http://schemas.openxmlformats.org/officeDocument/2006/relationships/tags" Target="../tags/tag84.xml"/><Relationship Id="rId32" Type="http://schemas.openxmlformats.org/officeDocument/2006/relationships/slide" Target="slide125.xml"/><Relationship Id="rId37" Type="http://schemas.openxmlformats.org/officeDocument/2006/relationships/slide" Target="slide5.xml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23" Type="http://schemas.openxmlformats.org/officeDocument/2006/relationships/tags" Target="../tags/tag83.xml"/><Relationship Id="rId28" Type="http://schemas.openxmlformats.org/officeDocument/2006/relationships/tags" Target="../tags/tag88.xml"/><Relationship Id="rId36" Type="http://schemas.openxmlformats.org/officeDocument/2006/relationships/slide" Target="slide9.xml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31" Type="http://schemas.openxmlformats.org/officeDocument/2006/relationships/slide" Target="slide149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tags" Target="../tags/tag82.xml"/><Relationship Id="rId27" Type="http://schemas.openxmlformats.org/officeDocument/2006/relationships/tags" Target="../tags/tag87.xml"/><Relationship Id="rId30" Type="http://schemas.openxmlformats.org/officeDocument/2006/relationships/slide" Target="slide185.xml"/><Relationship Id="rId35" Type="http://schemas.openxmlformats.org/officeDocument/2006/relationships/slide" Target="slide25.xml"/><Relationship Id="rId8" Type="http://schemas.openxmlformats.org/officeDocument/2006/relationships/tags" Target="../tags/tag68.xml"/><Relationship Id="rId3" Type="http://schemas.openxmlformats.org/officeDocument/2006/relationships/tags" Target="../tags/tag63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13" Type="http://schemas.openxmlformats.org/officeDocument/2006/relationships/tags" Target="../tags/tag899.xml"/><Relationship Id="rId18" Type="http://schemas.openxmlformats.org/officeDocument/2006/relationships/tags" Target="../tags/tag904.xml"/><Relationship Id="rId26" Type="http://schemas.openxmlformats.org/officeDocument/2006/relationships/tags" Target="../tags/tag912.xml"/><Relationship Id="rId39" Type="http://schemas.openxmlformats.org/officeDocument/2006/relationships/slide" Target="slide59.xml"/><Relationship Id="rId21" Type="http://schemas.openxmlformats.org/officeDocument/2006/relationships/tags" Target="../tags/tag907.xml"/><Relationship Id="rId34" Type="http://schemas.openxmlformats.org/officeDocument/2006/relationships/slide" Target="slide89.xml"/><Relationship Id="rId7" Type="http://schemas.openxmlformats.org/officeDocument/2006/relationships/tags" Target="../tags/tag893.xml"/><Relationship Id="rId12" Type="http://schemas.openxmlformats.org/officeDocument/2006/relationships/tags" Target="../tags/tag898.xml"/><Relationship Id="rId17" Type="http://schemas.openxmlformats.org/officeDocument/2006/relationships/tags" Target="../tags/tag903.xml"/><Relationship Id="rId25" Type="http://schemas.openxmlformats.org/officeDocument/2006/relationships/tags" Target="../tags/tag911.xml"/><Relationship Id="rId33" Type="http://schemas.openxmlformats.org/officeDocument/2006/relationships/slide" Target="slide91.xml"/><Relationship Id="rId38" Type="http://schemas.openxmlformats.org/officeDocument/2006/relationships/slide" Target="slide69.xml"/><Relationship Id="rId2" Type="http://schemas.openxmlformats.org/officeDocument/2006/relationships/tags" Target="../tags/tag888.xml"/><Relationship Id="rId16" Type="http://schemas.openxmlformats.org/officeDocument/2006/relationships/tags" Target="../tags/tag902.xml"/><Relationship Id="rId20" Type="http://schemas.openxmlformats.org/officeDocument/2006/relationships/tags" Target="../tags/tag906.xml"/><Relationship Id="rId29" Type="http://schemas.openxmlformats.org/officeDocument/2006/relationships/tags" Target="../tags/tag915.xml"/><Relationship Id="rId1" Type="http://schemas.openxmlformats.org/officeDocument/2006/relationships/tags" Target="../tags/tag887.xml"/><Relationship Id="rId6" Type="http://schemas.openxmlformats.org/officeDocument/2006/relationships/tags" Target="../tags/tag892.xml"/><Relationship Id="rId11" Type="http://schemas.openxmlformats.org/officeDocument/2006/relationships/tags" Target="../tags/tag897.xml"/><Relationship Id="rId24" Type="http://schemas.openxmlformats.org/officeDocument/2006/relationships/tags" Target="../tags/tag910.xml"/><Relationship Id="rId32" Type="http://schemas.openxmlformats.org/officeDocument/2006/relationships/slide" Target="slide93.xml"/><Relationship Id="rId37" Type="http://schemas.openxmlformats.org/officeDocument/2006/relationships/slide" Target="slide77.xml"/><Relationship Id="rId40" Type="http://schemas.openxmlformats.org/officeDocument/2006/relationships/slide" Target="slide57.xml"/><Relationship Id="rId5" Type="http://schemas.openxmlformats.org/officeDocument/2006/relationships/tags" Target="../tags/tag891.xml"/><Relationship Id="rId15" Type="http://schemas.openxmlformats.org/officeDocument/2006/relationships/tags" Target="../tags/tag901.xml"/><Relationship Id="rId23" Type="http://schemas.openxmlformats.org/officeDocument/2006/relationships/tags" Target="../tags/tag909.xml"/><Relationship Id="rId28" Type="http://schemas.openxmlformats.org/officeDocument/2006/relationships/tags" Target="../tags/tag914.xml"/><Relationship Id="rId36" Type="http://schemas.openxmlformats.org/officeDocument/2006/relationships/slide" Target="slide85.xml"/><Relationship Id="rId10" Type="http://schemas.openxmlformats.org/officeDocument/2006/relationships/tags" Target="../tags/tag896.xml"/><Relationship Id="rId19" Type="http://schemas.openxmlformats.org/officeDocument/2006/relationships/tags" Target="../tags/tag905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890.xml"/><Relationship Id="rId9" Type="http://schemas.openxmlformats.org/officeDocument/2006/relationships/tags" Target="../tags/tag895.xml"/><Relationship Id="rId14" Type="http://schemas.openxmlformats.org/officeDocument/2006/relationships/tags" Target="../tags/tag900.xml"/><Relationship Id="rId22" Type="http://schemas.openxmlformats.org/officeDocument/2006/relationships/tags" Target="../tags/tag908.xml"/><Relationship Id="rId27" Type="http://schemas.openxmlformats.org/officeDocument/2006/relationships/tags" Target="../tags/tag913.xml"/><Relationship Id="rId30" Type="http://schemas.openxmlformats.org/officeDocument/2006/relationships/tags" Target="../tags/tag916.xml"/><Relationship Id="rId35" Type="http://schemas.openxmlformats.org/officeDocument/2006/relationships/slide" Target="slide87.xml"/><Relationship Id="rId8" Type="http://schemas.openxmlformats.org/officeDocument/2006/relationships/tags" Target="../tags/tag894.xml"/><Relationship Id="rId3" Type="http://schemas.openxmlformats.org/officeDocument/2006/relationships/tags" Target="../tags/tag889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13" Type="http://schemas.openxmlformats.org/officeDocument/2006/relationships/tags" Target="../tags/tag929.xml"/><Relationship Id="rId18" Type="http://schemas.openxmlformats.org/officeDocument/2006/relationships/tags" Target="../tags/tag934.xml"/><Relationship Id="rId26" Type="http://schemas.openxmlformats.org/officeDocument/2006/relationships/tags" Target="../tags/tag942.xml"/><Relationship Id="rId39" Type="http://schemas.openxmlformats.org/officeDocument/2006/relationships/slide" Target="slide59.xml"/><Relationship Id="rId21" Type="http://schemas.openxmlformats.org/officeDocument/2006/relationships/tags" Target="../tags/tag937.xml"/><Relationship Id="rId34" Type="http://schemas.openxmlformats.org/officeDocument/2006/relationships/slide" Target="slide89.xml"/><Relationship Id="rId7" Type="http://schemas.openxmlformats.org/officeDocument/2006/relationships/tags" Target="../tags/tag923.xml"/><Relationship Id="rId12" Type="http://schemas.openxmlformats.org/officeDocument/2006/relationships/tags" Target="../tags/tag928.xml"/><Relationship Id="rId17" Type="http://schemas.openxmlformats.org/officeDocument/2006/relationships/tags" Target="../tags/tag933.xml"/><Relationship Id="rId25" Type="http://schemas.openxmlformats.org/officeDocument/2006/relationships/tags" Target="../tags/tag941.xml"/><Relationship Id="rId33" Type="http://schemas.openxmlformats.org/officeDocument/2006/relationships/slide" Target="slide91.xml"/><Relationship Id="rId38" Type="http://schemas.openxmlformats.org/officeDocument/2006/relationships/slide" Target="slide69.xml"/><Relationship Id="rId2" Type="http://schemas.openxmlformats.org/officeDocument/2006/relationships/tags" Target="../tags/tag918.xml"/><Relationship Id="rId16" Type="http://schemas.openxmlformats.org/officeDocument/2006/relationships/tags" Target="../tags/tag932.xml"/><Relationship Id="rId20" Type="http://schemas.openxmlformats.org/officeDocument/2006/relationships/tags" Target="../tags/tag936.xml"/><Relationship Id="rId29" Type="http://schemas.openxmlformats.org/officeDocument/2006/relationships/tags" Target="../tags/tag945.xml"/><Relationship Id="rId1" Type="http://schemas.openxmlformats.org/officeDocument/2006/relationships/tags" Target="../tags/tag917.xml"/><Relationship Id="rId6" Type="http://schemas.openxmlformats.org/officeDocument/2006/relationships/tags" Target="../tags/tag922.xml"/><Relationship Id="rId11" Type="http://schemas.openxmlformats.org/officeDocument/2006/relationships/tags" Target="../tags/tag927.xml"/><Relationship Id="rId24" Type="http://schemas.openxmlformats.org/officeDocument/2006/relationships/tags" Target="../tags/tag940.xml"/><Relationship Id="rId32" Type="http://schemas.openxmlformats.org/officeDocument/2006/relationships/slide" Target="slide93.xml"/><Relationship Id="rId37" Type="http://schemas.openxmlformats.org/officeDocument/2006/relationships/slide" Target="slide77.xml"/><Relationship Id="rId40" Type="http://schemas.openxmlformats.org/officeDocument/2006/relationships/slide" Target="slide57.xml"/><Relationship Id="rId5" Type="http://schemas.openxmlformats.org/officeDocument/2006/relationships/tags" Target="../tags/tag921.xml"/><Relationship Id="rId15" Type="http://schemas.openxmlformats.org/officeDocument/2006/relationships/tags" Target="../tags/tag931.xml"/><Relationship Id="rId23" Type="http://schemas.openxmlformats.org/officeDocument/2006/relationships/tags" Target="../tags/tag939.xml"/><Relationship Id="rId28" Type="http://schemas.openxmlformats.org/officeDocument/2006/relationships/tags" Target="../tags/tag944.xml"/><Relationship Id="rId36" Type="http://schemas.openxmlformats.org/officeDocument/2006/relationships/slide" Target="slide85.xml"/><Relationship Id="rId10" Type="http://schemas.openxmlformats.org/officeDocument/2006/relationships/tags" Target="../tags/tag926.xml"/><Relationship Id="rId19" Type="http://schemas.openxmlformats.org/officeDocument/2006/relationships/tags" Target="../tags/tag935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920.xml"/><Relationship Id="rId9" Type="http://schemas.openxmlformats.org/officeDocument/2006/relationships/tags" Target="../tags/tag925.xml"/><Relationship Id="rId14" Type="http://schemas.openxmlformats.org/officeDocument/2006/relationships/tags" Target="../tags/tag930.xml"/><Relationship Id="rId22" Type="http://schemas.openxmlformats.org/officeDocument/2006/relationships/tags" Target="../tags/tag938.xml"/><Relationship Id="rId27" Type="http://schemas.openxmlformats.org/officeDocument/2006/relationships/tags" Target="../tags/tag943.xml"/><Relationship Id="rId30" Type="http://schemas.openxmlformats.org/officeDocument/2006/relationships/tags" Target="../tags/tag946.xml"/><Relationship Id="rId35" Type="http://schemas.openxmlformats.org/officeDocument/2006/relationships/slide" Target="slide87.xml"/><Relationship Id="rId8" Type="http://schemas.openxmlformats.org/officeDocument/2006/relationships/tags" Target="../tags/tag924.xml"/><Relationship Id="rId3" Type="http://schemas.openxmlformats.org/officeDocument/2006/relationships/tags" Target="../tags/tag919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13" Type="http://schemas.openxmlformats.org/officeDocument/2006/relationships/tags" Target="../tags/tag959.xml"/><Relationship Id="rId18" Type="http://schemas.openxmlformats.org/officeDocument/2006/relationships/tags" Target="../tags/tag964.xml"/><Relationship Id="rId26" Type="http://schemas.openxmlformats.org/officeDocument/2006/relationships/tags" Target="../tags/tag972.xml"/><Relationship Id="rId3" Type="http://schemas.openxmlformats.org/officeDocument/2006/relationships/tags" Target="../tags/tag949.xml"/><Relationship Id="rId21" Type="http://schemas.openxmlformats.org/officeDocument/2006/relationships/tags" Target="../tags/tag967.xml"/><Relationship Id="rId34" Type="http://schemas.openxmlformats.org/officeDocument/2006/relationships/slide" Target="slide25.xml"/><Relationship Id="rId7" Type="http://schemas.openxmlformats.org/officeDocument/2006/relationships/tags" Target="../tags/tag953.xml"/><Relationship Id="rId12" Type="http://schemas.openxmlformats.org/officeDocument/2006/relationships/tags" Target="../tags/tag958.xml"/><Relationship Id="rId17" Type="http://schemas.openxmlformats.org/officeDocument/2006/relationships/tags" Target="../tags/tag963.xml"/><Relationship Id="rId25" Type="http://schemas.openxmlformats.org/officeDocument/2006/relationships/tags" Target="../tags/tag971.xml"/><Relationship Id="rId33" Type="http://schemas.openxmlformats.org/officeDocument/2006/relationships/slide" Target="slide55.xml"/><Relationship Id="rId2" Type="http://schemas.openxmlformats.org/officeDocument/2006/relationships/tags" Target="../tags/tag948.xml"/><Relationship Id="rId16" Type="http://schemas.openxmlformats.org/officeDocument/2006/relationships/tags" Target="../tags/tag962.xml"/><Relationship Id="rId20" Type="http://schemas.openxmlformats.org/officeDocument/2006/relationships/tags" Target="../tags/tag966.xml"/><Relationship Id="rId29" Type="http://schemas.openxmlformats.org/officeDocument/2006/relationships/slide" Target="slide185.xml"/><Relationship Id="rId1" Type="http://schemas.openxmlformats.org/officeDocument/2006/relationships/tags" Target="../tags/tag947.xml"/><Relationship Id="rId6" Type="http://schemas.openxmlformats.org/officeDocument/2006/relationships/tags" Target="../tags/tag952.xml"/><Relationship Id="rId11" Type="http://schemas.openxmlformats.org/officeDocument/2006/relationships/tags" Target="../tags/tag957.xml"/><Relationship Id="rId24" Type="http://schemas.openxmlformats.org/officeDocument/2006/relationships/tags" Target="../tags/tag970.xml"/><Relationship Id="rId32" Type="http://schemas.openxmlformats.org/officeDocument/2006/relationships/slide" Target="slide95.xml"/><Relationship Id="rId5" Type="http://schemas.openxmlformats.org/officeDocument/2006/relationships/tags" Target="../tags/tag951.xml"/><Relationship Id="rId15" Type="http://schemas.openxmlformats.org/officeDocument/2006/relationships/tags" Target="../tags/tag961.xml"/><Relationship Id="rId23" Type="http://schemas.openxmlformats.org/officeDocument/2006/relationships/tags" Target="../tags/tag969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5.xml"/><Relationship Id="rId10" Type="http://schemas.openxmlformats.org/officeDocument/2006/relationships/tags" Target="../tags/tag956.xml"/><Relationship Id="rId19" Type="http://schemas.openxmlformats.org/officeDocument/2006/relationships/tags" Target="../tags/tag965.xml"/><Relationship Id="rId31" Type="http://schemas.openxmlformats.org/officeDocument/2006/relationships/slide" Target="slide125.xml"/><Relationship Id="rId4" Type="http://schemas.openxmlformats.org/officeDocument/2006/relationships/tags" Target="../tags/tag950.xml"/><Relationship Id="rId9" Type="http://schemas.openxmlformats.org/officeDocument/2006/relationships/tags" Target="../tags/tag955.xml"/><Relationship Id="rId14" Type="http://schemas.openxmlformats.org/officeDocument/2006/relationships/tags" Target="../tags/tag960.xml"/><Relationship Id="rId22" Type="http://schemas.openxmlformats.org/officeDocument/2006/relationships/tags" Target="../tags/tag968.xml"/><Relationship Id="rId27" Type="http://schemas.openxmlformats.org/officeDocument/2006/relationships/tags" Target="../tags/tag973.xml"/><Relationship Id="rId30" Type="http://schemas.openxmlformats.org/officeDocument/2006/relationships/slide" Target="slide149.xml"/><Relationship Id="rId35" Type="http://schemas.openxmlformats.org/officeDocument/2006/relationships/slide" Target="slide9.xml"/><Relationship Id="rId8" Type="http://schemas.openxmlformats.org/officeDocument/2006/relationships/tags" Target="../tags/tag954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tags" Target="../tags/tag981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976.xml"/><Relationship Id="rId7" Type="http://schemas.openxmlformats.org/officeDocument/2006/relationships/tags" Target="../tags/tag980.xml"/><Relationship Id="rId12" Type="http://schemas.openxmlformats.org/officeDocument/2006/relationships/tags" Target="../tags/tag985.xml"/><Relationship Id="rId2" Type="http://schemas.openxmlformats.org/officeDocument/2006/relationships/tags" Target="../tags/tag975.xml"/><Relationship Id="rId16" Type="http://schemas.openxmlformats.org/officeDocument/2006/relationships/slide" Target="slide97.xml"/><Relationship Id="rId1" Type="http://schemas.openxmlformats.org/officeDocument/2006/relationships/tags" Target="../tags/tag974.xml"/><Relationship Id="rId6" Type="http://schemas.openxmlformats.org/officeDocument/2006/relationships/tags" Target="../tags/tag979.xml"/><Relationship Id="rId11" Type="http://schemas.openxmlformats.org/officeDocument/2006/relationships/tags" Target="../tags/tag984.xml"/><Relationship Id="rId5" Type="http://schemas.openxmlformats.org/officeDocument/2006/relationships/tags" Target="../tags/tag978.xml"/><Relationship Id="rId15" Type="http://schemas.openxmlformats.org/officeDocument/2006/relationships/slide" Target="slide99.xml"/><Relationship Id="rId10" Type="http://schemas.openxmlformats.org/officeDocument/2006/relationships/tags" Target="../tags/tag983.xml"/><Relationship Id="rId4" Type="http://schemas.openxmlformats.org/officeDocument/2006/relationships/tags" Target="../tags/tag977.xml"/><Relationship Id="rId9" Type="http://schemas.openxmlformats.org/officeDocument/2006/relationships/tags" Target="../tags/tag982.xml"/><Relationship Id="rId14" Type="http://schemas.openxmlformats.org/officeDocument/2006/relationships/slide" Target="slide11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13" Type="http://schemas.openxmlformats.org/officeDocument/2006/relationships/tags" Target="../tags/tag998.xml"/><Relationship Id="rId18" Type="http://schemas.openxmlformats.org/officeDocument/2006/relationships/tags" Target="../tags/tag1003.xml"/><Relationship Id="rId26" Type="http://schemas.openxmlformats.org/officeDocument/2006/relationships/tags" Target="../tags/tag1011.xml"/><Relationship Id="rId3" Type="http://schemas.openxmlformats.org/officeDocument/2006/relationships/tags" Target="../tags/tag988.xml"/><Relationship Id="rId21" Type="http://schemas.openxmlformats.org/officeDocument/2006/relationships/tags" Target="../tags/tag1006.xml"/><Relationship Id="rId34" Type="http://schemas.openxmlformats.org/officeDocument/2006/relationships/slide" Target="slide101.xml"/><Relationship Id="rId7" Type="http://schemas.openxmlformats.org/officeDocument/2006/relationships/tags" Target="../tags/tag992.xml"/><Relationship Id="rId12" Type="http://schemas.openxmlformats.org/officeDocument/2006/relationships/tags" Target="../tags/tag997.xml"/><Relationship Id="rId17" Type="http://schemas.openxmlformats.org/officeDocument/2006/relationships/tags" Target="../tags/tag1002.xml"/><Relationship Id="rId25" Type="http://schemas.openxmlformats.org/officeDocument/2006/relationships/tags" Target="../tags/tag1010.xml"/><Relationship Id="rId33" Type="http://schemas.openxmlformats.org/officeDocument/2006/relationships/slide" Target="slide103.xml"/><Relationship Id="rId2" Type="http://schemas.openxmlformats.org/officeDocument/2006/relationships/tags" Target="../tags/tag987.xml"/><Relationship Id="rId16" Type="http://schemas.openxmlformats.org/officeDocument/2006/relationships/tags" Target="../tags/tag1001.xml"/><Relationship Id="rId20" Type="http://schemas.openxmlformats.org/officeDocument/2006/relationships/tags" Target="../tags/tag1005.xml"/><Relationship Id="rId29" Type="http://schemas.openxmlformats.org/officeDocument/2006/relationships/slide" Target="slide111.xml"/><Relationship Id="rId1" Type="http://schemas.openxmlformats.org/officeDocument/2006/relationships/tags" Target="../tags/tag986.xml"/><Relationship Id="rId6" Type="http://schemas.openxmlformats.org/officeDocument/2006/relationships/tags" Target="../tags/tag991.xml"/><Relationship Id="rId11" Type="http://schemas.openxmlformats.org/officeDocument/2006/relationships/tags" Target="../tags/tag996.xml"/><Relationship Id="rId24" Type="http://schemas.openxmlformats.org/officeDocument/2006/relationships/tags" Target="../tags/tag1009.xml"/><Relationship Id="rId32" Type="http://schemas.openxmlformats.org/officeDocument/2006/relationships/slide" Target="slide105.xml"/><Relationship Id="rId5" Type="http://schemas.openxmlformats.org/officeDocument/2006/relationships/tags" Target="../tags/tag990.xml"/><Relationship Id="rId15" Type="http://schemas.openxmlformats.org/officeDocument/2006/relationships/tags" Target="../tags/tag1000.xml"/><Relationship Id="rId23" Type="http://schemas.openxmlformats.org/officeDocument/2006/relationships/tags" Target="../tags/tag1008.xml"/><Relationship Id="rId28" Type="http://schemas.openxmlformats.org/officeDocument/2006/relationships/slideLayout" Target="../slideLayouts/slideLayout6.xml"/><Relationship Id="rId36" Type="http://schemas.openxmlformats.org/officeDocument/2006/relationships/slide" Target="slide97.xml"/><Relationship Id="rId10" Type="http://schemas.openxmlformats.org/officeDocument/2006/relationships/tags" Target="../tags/tag995.xml"/><Relationship Id="rId19" Type="http://schemas.openxmlformats.org/officeDocument/2006/relationships/tags" Target="../tags/tag1004.xml"/><Relationship Id="rId31" Type="http://schemas.openxmlformats.org/officeDocument/2006/relationships/slide" Target="slide107.xml"/><Relationship Id="rId4" Type="http://schemas.openxmlformats.org/officeDocument/2006/relationships/tags" Target="../tags/tag989.xml"/><Relationship Id="rId9" Type="http://schemas.openxmlformats.org/officeDocument/2006/relationships/tags" Target="../tags/tag994.xml"/><Relationship Id="rId14" Type="http://schemas.openxmlformats.org/officeDocument/2006/relationships/tags" Target="../tags/tag999.xml"/><Relationship Id="rId22" Type="http://schemas.openxmlformats.org/officeDocument/2006/relationships/tags" Target="../tags/tag1007.xml"/><Relationship Id="rId27" Type="http://schemas.openxmlformats.org/officeDocument/2006/relationships/tags" Target="../tags/tag1012.xml"/><Relationship Id="rId30" Type="http://schemas.openxmlformats.org/officeDocument/2006/relationships/slide" Target="slide109.xml"/><Relationship Id="rId35" Type="http://schemas.openxmlformats.org/officeDocument/2006/relationships/slide" Target="slide99.xml"/><Relationship Id="rId8" Type="http://schemas.openxmlformats.org/officeDocument/2006/relationships/tags" Target="../tags/tag9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小李PPT11"/>
          <p:cNvSpPr/>
          <p:nvPr/>
        </p:nvSpPr>
        <p:spPr>
          <a:xfrm>
            <a:off x="7392347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小李PPT12"/>
          <p:cNvSpPr/>
          <p:nvPr/>
        </p:nvSpPr>
        <p:spPr>
          <a:xfrm>
            <a:off x="7660480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思源黑体 CN Normal"/>
              <a:cs typeface="+mn-cs"/>
            </a:endParaRPr>
          </a:p>
        </p:txBody>
      </p:sp>
      <p:sp>
        <p:nvSpPr>
          <p:cNvPr id="5" name="小李PPT13"/>
          <p:cNvSpPr txBox="1"/>
          <p:nvPr/>
        </p:nvSpPr>
        <p:spPr>
          <a:xfrm>
            <a:off x="990332" y="829523"/>
            <a:ext cx="555336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6000" dirty="0">
                <a:latin typeface="+mj-ea"/>
                <a:ea typeface="+mj-ea"/>
                <a:cs typeface="OPPOSans H" panose="00020600040101010101" pitchFamily="18" charset="-122"/>
              </a:rPr>
              <a:t>Aligning</a:t>
            </a:r>
            <a:endParaRPr lang="en-US" altLang="zh-CN" sz="6000" dirty="0">
              <a:solidFill>
                <a:schemeClr val="accent1"/>
              </a:solidFill>
              <a:latin typeface="+mj-ea"/>
              <a:ea typeface="+mj-ea"/>
              <a:cs typeface="OPPOSans H" panose="00020600040101010101" pitchFamily="18" charset="-122"/>
            </a:endParaRPr>
          </a:p>
          <a:p>
            <a:pPr>
              <a:defRPr/>
            </a:pPr>
            <a:r>
              <a:rPr lang="en-US" altLang="zh-CN" sz="6000" dirty="0">
                <a:solidFill>
                  <a:schemeClr val="accent1"/>
                </a:solidFill>
                <a:latin typeface="+mj-ea"/>
                <a:ea typeface="+mj-ea"/>
                <a:cs typeface="OPPOSans H" panose="00020600040101010101" pitchFamily="18" charset="-122"/>
              </a:rPr>
              <a:t>Cyber Space </a:t>
            </a:r>
            <a:r>
              <a:rPr lang="en-US" altLang="zh-CN" sz="6000" dirty="0">
                <a:latin typeface="+mj-ea"/>
                <a:ea typeface="+mj-ea"/>
                <a:cs typeface="OPPOSans H" panose="00020600040101010101" pitchFamily="18" charset="-122"/>
              </a:rPr>
              <a:t>with</a:t>
            </a:r>
          </a:p>
          <a:p>
            <a:pPr>
              <a:defRPr/>
            </a:pPr>
            <a:r>
              <a:rPr lang="en-US" altLang="zh-CN" sz="6000" dirty="0">
                <a:solidFill>
                  <a:schemeClr val="accent1"/>
                </a:solidFill>
                <a:latin typeface="+mj-ea"/>
                <a:ea typeface="+mj-ea"/>
                <a:cs typeface="OPPOSans H" panose="00020600040101010101" pitchFamily="18" charset="-122"/>
              </a:rPr>
              <a:t>Physical World</a:t>
            </a:r>
            <a:endParaRPr lang="zh-CN" altLang="en-US" sz="6000" dirty="0">
              <a:solidFill>
                <a:prstClr val="black"/>
              </a:solidFill>
              <a:latin typeface="+mj-ea"/>
              <a:ea typeface="+mj-ea"/>
              <a:cs typeface="OPPOSans H" panose="00020600040101010101" pitchFamily="18" charset="-122"/>
            </a:endParaRPr>
          </a:p>
        </p:txBody>
      </p:sp>
      <p:sp>
        <p:nvSpPr>
          <p:cNvPr id="6" name="小李PPT14"/>
          <p:cNvSpPr txBox="1"/>
          <p:nvPr/>
        </p:nvSpPr>
        <p:spPr>
          <a:xfrm>
            <a:off x="972143" y="4608195"/>
            <a:ext cx="52684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2000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A Comprehensive Survey on Embodied AI</a:t>
            </a:r>
          </a:p>
        </p:txBody>
      </p:sp>
      <p:sp>
        <p:nvSpPr>
          <p:cNvPr id="7" name="小李PPT15"/>
          <p:cNvSpPr txBox="1"/>
          <p:nvPr/>
        </p:nvSpPr>
        <p:spPr>
          <a:xfrm>
            <a:off x="964070" y="5449813"/>
            <a:ext cx="1980029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2000" dirty="0">
                <a:solidFill>
                  <a:srgbClr val="000000"/>
                </a:solidFill>
                <a:latin typeface="+mn-ea"/>
              </a:rPr>
              <a:t>汇报人：张力中</a:t>
            </a:r>
            <a:endParaRPr lang="en-US" altLang="zh-CN" sz="200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4" name="小李PPT16" descr="电脑的屏幕&#10;&#10;描述已自动生成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5695043" y="1581877"/>
            <a:ext cx="6830814" cy="397756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A24CDA7-76C8-2C5F-C931-72373CEB2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5238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 descr="图片包含 日程表&#10;&#10;描述已自动生成">
            <a:extLst>
              <a:ext uri="{FF2B5EF4-FFF2-40B4-BE49-F238E27FC236}">
                <a16:creationId xmlns:a16="http://schemas.microsoft.com/office/drawing/2014/main" id="{43A87649-7E7A-9BE9-0615-A7B1CCD5FA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6605"/>
            <a:ext cx="12192000" cy="5324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951414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558709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12F79C9D-B79C-9B15-0994-0737B5DF431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DA152B89-3501-E8A2-7A50-5700D57A7BA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2FAF9D15-0B59-637B-675E-4D34248464F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CF935571-28A4-896B-4C81-019349BB8ED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DD3E3BAF-5CC4-6409-E4F1-168C7171BA0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imitation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C4878876-4FB6-8CF6-B650-D537774BC75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5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5D3808AE-00DB-6117-ED87-30795742C9A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7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5AA85B8A-D882-4B4C-E451-0EEB286BFEF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rics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C01CAFDD-483F-AB5D-97DA-5FC876484C8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A64D289C-8F27-BC8B-A8DF-B0DE1C0FEDA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5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7DBF5E0A-99EF-CEAC-ED14-78AD8B527EB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F8A83AEE-F97E-B9C2-CC7B-5B423944F3C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3" name="矩形 72">
            <a:hlinkClick r:id="rId33" action="ppaction://hlinksldjump"/>
            <a:extLst>
              <a:ext uri="{FF2B5EF4-FFF2-40B4-BE49-F238E27FC236}">
                <a16:creationId xmlns:a16="http://schemas.microsoft.com/office/drawing/2014/main" id="{13B34E59-241B-6A96-C5DC-CC729033650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3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DAB01A54-34F1-5A83-246C-2F2E479B30E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635D8327-BEEF-E848-6949-15E4BCB1B2E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3C853B73-3020-ED94-461D-D084E1A4AD8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441569" y="264489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D1D3B61C-2BCB-D695-3025-C570160BF05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1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092A12CF-ABF4-8192-5A9E-E2839DBBCA5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264489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56D38E2E-D4AC-51B7-DE7A-12D5730D9715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948F5FBF-D4B8-8F12-1D8A-CF1A01D0DE7E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E6810BB4-65B5-759C-4B15-9C429AD57BF2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B6856CD2-F7D4-EB33-6068-1CE24E467D24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03FF0623-152B-6FDA-E0C0-248EEC0D622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D91D2A05-8513-B296-29A9-6B504C061F09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9931F76C-AC85-11DC-E379-4BC59779F0C0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3E150EDD-B8C9-7920-ACDB-A24A9E484113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6127548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62133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6C9D66CC-7A9E-1D71-6DBF-1FCD19DD17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5CF770BB-ABA2-5D67-51D7-2B23EC7283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E255E539-81E4-CA89-9872-0F786AACC7D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88926B3B-9E5E-E433-AD68-7CF9D39EBE7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0FC5C72C-C6E8-DED6-523E-A80E1C8011D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imitation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40959652-5863-5730-EA9B-80AC33F8277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5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CA34C63C-61C6-0F10-3514-84E6E747FCB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7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C6BA6865-7D9B-B01D-786B-BBC04133E31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rics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A392D732-C22F-5546-7E9B-16B5FFB8297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7AC25BA3-500B-C624-B58F-E68B79EDD7E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5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1AFA575D-BE57-B7AF-3C5D-2C47BDF2AF0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DBD66C0C-9F84-4C28-4297-041C95E49E6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1D0FE4C1-5AB9-B168-5A55-2564DF68759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441569" y="310850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98BD3255-1B90-F7EA-9003-24DAFCCDBF7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3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1363D4BE-E3CF-2FA3-F81D-62307C7EA43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D3B0E1D3-D5CE-3F93-403D-C69B9F895B89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BCFE029D-91FC-B24C-B7CF-934CF40A4F5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1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792578C3-7CF5-6C4F-3350-34148FEB614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264489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BADA9A28-1CDD-053B-9543-CE451AB59AD6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65C15538-05E2-F06E-0C0B-93DE39638B1F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B51782DE-CCE7-AF93-83AD-63547BB5B0C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6229FF1E-294C-A0A1-C539-A2C660962A15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11003FB3-2036-2E74-CCC2-298B075087CF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09B3BA0F-15CC-8253-71D0-DEC1191DE289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CF7ABA54-02CD-2F22-C68E-84A941F04968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6CEC5BE5-86DA-E0F0-CE52-AC55813A4274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4153049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8318187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6BF63682-164B-5411-EE0C-1A418D6AC9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C14EF91B-4AD5-DBEF-C6FC-5E2050B5D8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8D90540F-B7BD-3504-AE82-BE690A9F07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64F0F759-ED06-C1A5-4F21-6F8CA6A0D0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3BAD8370-6655-E305-ACFA-89081B605FC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imitation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2AB1A1C6-0AB2-1C4C-4D99-3E827453A09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5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2105DE9C-667D-7ACA-BFF1-D89A52DD672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7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2E7593DD-60B5-03D0-C14C-638F4BEB23A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rics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5C8A3DF3-D76D-C1AA-109C-0721DE9CE13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1126E6BE-56AD-1CD1-5C44-527DDBD892B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41569" y="357211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C174811F-7FAD-29D0-59B8-147CC2D7CD7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5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1E975B94-9A49-FC93-B52C-D7395BDB5D9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4332D4B7-6865-F071-448D-6169E2796FB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34046ADC-1494-8607-9011-3BE47C5DE0E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3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9DA5AE37-7AC5-B6B2-0933-FC05ACD9714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91543985-CBC4-B93D-44E5-D0E12C7FAF6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D0154D27-D80F-5AD4-CBCA-9ABAAF69D07E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1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3936266C-D390-98A8-65B2-08EB2659EC8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264489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C2BC7D4C-8174-C140-3A9D-F10957198F9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F27DBFB8-13D4-07E4-39CA-810C366C6070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71D03A65-E1BB-0D05-A200-D52E8DD25C6B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32C8A26A-43CE-59E7-17DF-36E05ED36BC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755C5695-59A7-E6DE-7E52-97D39595E978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B4905FFA-6F09-14CA-DC45-367C818598C1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0E439469-FBB4-F08C-8E83-63BB97BFD499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EA59CE2F-B6E9-0CA1-8C9E-8794A4C00773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4454901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103101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5369E12E-1EED-2237-82E4-89B985347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5B5BD64E-6FE9-9CA0-B7B9-78CDDE80E6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4C094954-2B3F-394E-BC0A-BBFB39AC86B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5D61B097-4B22-160A-9A90-04DEEA6FBD6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05C4687F-9E3E-9FC1-73EC-F26DBF3FC4D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imitation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0EBAC822-4F42-CA3D-FD11-B7599759D9C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5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5DDC6D59-581D-95F0-2A0F-7603D7F4C3F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441569" y="403572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EE9E5C43-35BE-D421-FCD9-F81109F10AF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7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9707393D-9B73-3018-EBC3-9D0465A4C80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rics</a:t>
            </a:r>
          </a:p>
        </p:txBody>
      </p:sp>
      <p:sp>
        <p:nvSpPr>
          <p:cNvPr id="76" name="矩形 75">
            <a:hlinkClick r:id="rId31" action="ppaction://hlinksldjump"/>
            <a:extLst>
              <a:ext uri="{FF2B5EF4-FFF2-40B4-BE49-F238E27FC236}">
                <a16:creationId xmlns:a16="http://schemas.microsoft.com/office/drawing/2014/main" id="{212249CF-2BBE-E09D-E782-EBFFB0FF231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5FDE3884-9029-8697-1041-C55A0165711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5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4F38CC20-37A7-E195-5D9F-05CD1E33614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EC50CA55-4F10-37B6-B14B-2F883805B6D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AA82C27F-3939-01A3-96CA-CF388CFB25A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3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2CF4C68C-15A6-BCFD-97B3-C3D35163D20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A7497A1E-0650-DF52-AB0B-B20EDC23588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FE5B7AEA-F996-C6AC-DF05-92BB3BB2F59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1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F548D90B-0D2F-B34F-BEFC-41132A27849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264489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896EA7A9-82E0-D00B-F0EB-41CF81489FC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1514E0D6-DC85-7AA7-0657-48998B2B890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5A57A949-6213-AD23-BF0B-E7E07E1E7333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7A0290E8-E4D7-4498-C49F-AE270A539F91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DBAB2FC2-12E2-353E-B674-0C77F43B49E7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96CC8F9A-F0A8-1235-06E4-E98A4922FA23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9383B562-713B-5181-506A-456C3A029BEF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76E6E198-5716-CA03-6815-90B11693051B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6491788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278385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CC400E8D-99AC-5236-8629-ECD1182D19A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2D0C38EE-81F7-5A78-4079-3F4121489A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504B9027-DF5F-C07D-FE99-D25AB722427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C7AABF12-4D1A-75A2-3AE4-5209A27CD6E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41569" y="4499335"/>
            <a:ext cx="1023369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DD74840F-B2FC-DA94-7FF2-823363E1284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9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1435065A-AFAA-819C-E779-1C9621090C0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imitations</a:t>
            </a:r>
          </a:p>
        </p:txBody>
      </p:sp>
      <p:sp>
        <p:nvSpPr>
          <p:cNvPr id="79" name="矩形 78">
            <a:hlinkClick r:id="rId30" action="ppaction://hlinksldjump"/>
            <a:extLst>
              <a:ext uri="{FF2B5EF4-FFF2-40B4-BE49-F238E27FC236}">
                <a16:creationId xmlns:a16="http://schemas.microsoft.com/office/drawing/2014/main" id="{CD31C950-7E16-427F-2AE4-17FA06B3E8B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5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859FB042-B77A-5A27-5972-0B0FE521639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7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FA7248C8-01C3-D4C3-6026-8F4EEDA85B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rics</a:t>
            </a:r>
          </a:p>
        </p:txBody>
      </p:sp>
      <p:sp>
        <p:nvSpPr>
          <p:cNvPr id="76" name="矩形 75">
            <a:hlinkClick r:id="rId31" action="ppaction://hlinksldjump"/>
            <a:extLst>
              <a:ext uri="{FF2B5EF4-FFF2-40B4-BE49-F238E27FC236}">
                <a16:creationId xmlns:a16="http://schemas.microsoft.com/office/drawing/2014/main" id="{FA4B3BA5-0F8B-B59E-5E3B-5B337239569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1FE8BF46-DDFA-CCD9-31F8-3AC22D27481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5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8AA4FC12-66FD-3BA6-3C57-BAB89861121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774F11BB-5350-7711-3EE8-11391CB3470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8FE24439-D7CB-BF43-B7D5-6DFEE43A909F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3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9966E73B-EFB5-3DD9-E210-DA4B28EA097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079B45E7-2C0B-F45A-042B-D67CC54FBE1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2F2820AE-0999-3B5E-E731-05226241E53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1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1C015A1B-908D-96D4-3D20-8840B0CE57C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264489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E4B7A487-B3D6-83B0-E0F8-0A53F122654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75F2B145-0B0A-6182-90DF-614493EA8F65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C0981157-EBED-06A0-C91E-EF2950E7BB9D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061EAFDE-7237-65EB-2529-DCCD4A00BC8F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DC8F4122-E251-B983-5E70-CB34ED43CC2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6A56BEC5-99F6-CDDF-B539-3D408E6DAE2D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24A340A7-3AF8-CA33-6961-F2540EC05432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00A1A020-C58A-9C06-2099-68A8EB6C1DC1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15611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 25">
            <a:hlinkClick r:id="rId27" action="ppaction://hlinksldjump"/>
            <a:extLst>
              <a:ext uri="{FF2B5EF4-FFF2-40B4-BE49-F238E27FC236}">
                <a16:creationId xmlns:a16="http://schemas.microsoft.com/office/drawing/2014/main" id="{C8725E29-9D24-A379-A1B5-7D92709A62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25" name="矩形 24">
            <a:hlinkClick r:id="rId27" action="ppaction://hlinksldjump"/>
            <a:extLst>
              <a:ext uri="{FF2B5EF4-FFF2-40B4-BE49-F238E27FC236}">
                <a16:creationId xmlns:a16="http://schemas.microsoft.com/office/drawing/2014/main" id="{3DABA581-EE83-5ADE-B83B-0573A462CD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499335"/>
            <a:ext cx="184826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Biomimetic Robots</a:t>
            </a:r>
          </a:p>
        </p:txBody>
      </p:sp>
      <p:sp>
        <p:nvSpPr>
          <p:cNvPr id="24" name="矩形 23">
            <a:hlinkClick r:id="rId27" action="ppaction://hlinksldjump"/>
            <a:extLst>
              <a:ext uri="{FF2B5EF4-FFF2-40B4-BE49-F238E27FC236}">
                <a16:creationId xmlns:a16="http://schemas.microsoft.com/office/drawing/2014/main" id="{B13F504F-E054-7742-98DD-BD0872E7BD0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23" name="矩形 22">
            <a:hlinkClick r:id="rId28" action="ppaction://hlinksldjump"/>
            <a:extLst>
              <a:ext uri="{FF2B5EF4-FFF2-40B4-BE49-F238E27FC236}">
                <a16:creationId xmlns:a16="http://schemas.microsoft.com/office/drawing/2014/main" id="{2DC4E72C-D044-8901-979C-D1A64023846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22" name="矩形 21">
            <a:hlinkClick r:id="rId28" action="ppaction://hlinksldjump"/>
            <a:extLst>
              <a:ext uri="{FF2B5EF4-FFF2-40B4-BE49-F238E27FC236}">
                <a16:creationId xmlns:a16="http://schemas.microsoft.com/office/drawing/2014/main" id="{72767902-7313-6242-79D1-DB7553F4EF2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03572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umanoid Robots</a:t>
            </a:r>
          </a:p>
        </p:txBody>
      </p:sp>
      <p:sp>
        <p:nvSpPr>
          <p:cNvPr id="21" name="矩形 20">
            <a:hlinkClick r:id="rId28" action="ppaction://hlinksldjump"/>
            <a:extLst>
              <a:ext uri="{FF2B5EF4-FFF2-40B4-BE49-F238E27FC236}">
                <a16:creationId xmlns:a16="http://schemas.microsoft.com/office/drawing/2014/main" id="{71DB6ABC-E7D9-4A32-A00E-F3F020B4310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0" name="矩形 19">
            <a:hlinkClick r:id="rId29" action="ppaction://hlinksldjump"/>
            <a:extLst>
              <a:ext uri="{FF2B5EF4-FFF2-40B4-BE49-F238E27FC236}">
                <a16:creationId xmlns:a16="http://schemas.microsoft.com/office/drawing/2014/main" id="{50F1CAC4-DA9B-DD15-9938-324776D3305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19" name="矩形 18">
            <a:hlinkClick r:id="rId29" action="ppaction://hlinksldjump"/>
            <a:extLst>
              <a:ext uri="{FF2B5EF4-FFF2-40B4-BE49-F238E27FC236}">
                <a16:creationId xmlns:a16="http://schemas.microsoft.com/office/drawing/2014/main" id="{546BC9A9-D981-63C0-A1BC-E03078C6A18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57211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Quadruped Robots</a:t>
            </a:r>
          </a:p>
        </p:txBody>
      </p:sp>
      <p:sp>
        <p:nvSpPr>
          <p:cNvPr id="18" name="矩形 17">
            <a:hlinkClick r:id="rId29" action="ppaction://hlinksldjump"/>
            <a:extLst>
              <a:ext uri="{FF2B5EF4-FFF2-40B4-BE49-F238E27FC236}">
                <a16:creationId xmlns:a16="http://schemas.microsoft.com/office/drawing/2014/main" id="{69EFB2BF-0021-F5AD-3FE8-34506DA1213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7" name="矩形 16">
            <a:hlinkClick r:id="rId30" action="ppaction://hlinksldjump"/>
            <a:extLst>
              <a:ext uri="{FF2B5EF4-FFF2-40B4-BE49-F238E27FC236}">
                <a16:creationId xmlns:a16="http://schemas.microsoft.com/office/drawing/2014/main" id="{81056E6B-2CB4-4C36-258A-23D917A2D12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16" name="矩形 15">
            <a:hlinkClick r:id="rId30" action="ppaction://hlinksldjump"/>
            <a:extLst>
              <a:ext uri="{FF2B5EF4-FFF2-40B4-BE49-F238E27FC236}">
                <a16:creationId xmlns:a16="http://schemas.microsoft.com/office/drawing/2014/main" id="{87F7D116-0672-236B-22B3-59913E14F2C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10850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cked Robots</a:t>
            </a:r>
          </a:p>
        </p:txBody>
      </p:sp>
      <p:sp>
        <p:nvSpPr>
          <p:cNvPr id="15" name="矩形 14">
            <a:hlinkClick r:id="rId30" action="ppaction://hlinksldjump"/>
            <a:extLst>
              <a:ext uri="{FF2B5EF4-FFF2-40B4-BE49-F238E27FC236}">
                <a16:creationId xmlns:a16="http://schemas.microsoft.com/office/drawing/2014/main" id="{A743859A-94A2-9088-49A1-C52BCD6C69F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4" name="矩形 13">
            <a:hlinkClick r:id="rId31" action="ppaction://hlinksldjump"/>
            <a:extLst>
              <a:ext uri="{FF2B5EF4-FFF2-40B4-BE49-F238E27FC236}">
                <a16:creationId xmlns:a16="http://schemas.microsoft.com/office/drawing/2014/main" id="{60A6E142-2952-606C-404E-CD63A4E7375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</a:t>
            </a:r>
          </a:p>
        </p:txBody>
      </p:sp>
      <p:sp>
        <p:nvSpPr>
          <p:cNvPr id="13" name="矩形 12">
            <a:hlinkClick r:id="rId31" action="ppaction://hlinksldjump"/>
            <a:extLst>
              <a:ext uri="{FF2B5EF4-FFF2-40B4-BE49-F238E27FC236}">
                <a16:creationId xmlns:a16="http://schemas.microsoft.com/office/drawing/2014/main" id="{404489D1-6762-B964-86D9-226F06F698D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264489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heeled Robots</a:t>
            </a:r>
          </a:p>
        </p:txBody>
      </p:sp>
      <p:sp>
        <p:nvSpPr>
          <p:cNvPr id="12" name="矩形 11">
            <a:hlinkClick r:id="rId31" action="ppaction://hlinksldjump"/>
            <a:extLst>
              <a:ext uri="{FF2B5EF4-FFF2-40B4-BE49-F238E27FC236}">
                <a16:creationId xmlns:a16="http://schemas.microsoft.com/office/drawing/2014/main" id="{D460BFDC-BFA3-C4AC-3F72-F0F449E0AFB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1" name="矩形 10">
            <a:hlinkClick r:id="rId32" action="ppaction://hlinksldjump"/>
            <a:extLst>
              <a:ext uri="{FF2B5EF4-FFF2-40B4-BE49-F238E27FC236}">
                <a16:creationId xmlns:a16="http://schemas.microsoft.com/office/drawing/2014/main" id="{34B8ACD4-7DB6-1BD0-2D6F-84A23A287D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10" name="矩形 9">
            <a:hlinkClick r:id="rId32" action="ppaction://hlinksldjump"/>
            <a:extLst>
              <a:ext uri="{FF2B5EF4-FFF2-40B4-BE49-F238E27FC236}">
                <a16:creationId xmlns:a16="http://schemas.microsoft.com/office/drawing/2014/main" id="{38597451-114D-66EC-4295-02265A941779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218128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xed-base Robots</a:t>
            </a:r>
          </a:p>
        </p:txBody>
      </p:sp>
      <p:sp>
        <p:nvSpPr>
          <p:cNvPr id="9" name="矩形 8">
            <a:hlinkClick r:id="rId32" action="ppaction://hlinksldjump"/>
            <a:extLst>
              <a:ext uri="{FF2B5EF4-FFF2-40B4-BE49-F238E27FC236}">
                <a16:creationId xmlns:a16="http://schemas.microsoft.com/office/drawing/2014/main" id="{F5EE9E3A-49EE-884E-D95E-0B2BCBA8C06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4518AB6-114E-BE74-4B8E-4082922B1810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矩形 6">
            <a:hlinkClick r:id="rId33" action="ppaction://hlinksldjump"/>
            <a:extLst>
              <a:ext uri="{FF2B5EF4-FFF2-40B4-BE49-F238E27FC236}">
                <a16:creationId xmlns:a16="http://schemas.microsoft.com/office/drawing/2014/main" id="{F012E348-6714-2417-F31F-5B8729409401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6" name="矩形 5">
            <a:hlinkClick r:id="rId33" action="ppaction://hlinksldjump"/>
            <a:extLst>
              <a:ext uri="{FF2B5EF4-FFF2-40B4-BE49-F238E27FC236}">
                <a16:creationId xmlns:a16="http://schemas.microsoft.com/office/drawing/2014/main" id="{6063F851-303E-8BC5-4255-716E3E541B4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" name="矩形 4">
            <a:hlinkClick r:id="rId33" action="ppaction://hlinksldjump"/>
            <a:extLst>
              <a:ext uri="{FF2B5EF4-FFF2-40B4-BE49-F238E27FC236}">
                <a16:creationId xmlns:a16="http://schemas.microsoft.com/office/drawing/2014/main" id="{9780FE39-8921-5C95-8F33-BB6BA52FCAB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C11CC85-6525-7736-4AF6-2C25EF0679D1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 vert="horz"/>
          <a:lstStyle/>
          <a:p>
            <a:r>
              <a:rPr lang="en-US"/>
              <a:t>Types of Robots</a:t>
            </a:r>
          </a:p>
        </p:txBody>
      </p:sp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F95B2F0F-A2DA-7894-6191-DB5B9F7EFCF0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4" imgW="473" imgH="476" progId="TCLayout.ActiveDocument.1">
                  <p:embed/>
                </p:oleObj>
              </mc:Choice>
              <mc:Fallback>
                <p:oleObj name="think-cell 幻灯片" r:id="rId34" imgW="473" imgH="476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5B2F0F-A2DA-7894-6191-DB5B9F7EF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1560449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376315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9A8415FE-0435-FB08-1E0F-FA8CD2221FF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B68E44B1-347A-081C-7EB3-242CDA72B4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542655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ular Approaches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10BA1536-D392-AFE1-D900-6993477281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6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64263D58-C14D-197E-19D0-C555588588D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DDF100D9-6A93-7409-F23A-96FD89268D5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Approaches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45754E70-19AC-3C0C-7E2E-AB0C012440D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5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F312CD8F-0A25-EFF5-21D5-1F927A00FB0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E9D8B043-98F5-EF63-0E22-F68990E8CC4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nguage-Guided Grasp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D3430B38-AEF9-E587-FEE5-E358FFF7F85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6F413399-4435-EF0B-F737-A1DCBC68351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7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FA6E12D2-2F07-6C43-2AFC-CF58037DB0F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0BD7AEAD-7936-3DF0-EF0D-B44A973A2A5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2" name="矩形 81">
            <a:hlinkClick r:id="rId36" action="ppaction://hlinksldjump"/>
            <a:extLst>
              <a:ext uri="{FF2B5EF4-FFF2-40B4-BE49-F238E27FC236}">
                <a16:creationId xmlns:a16="http://schemas.microsoft.com/office/drawing/2014/main" id="{7E145C19-BF98-1601-7FFC-E67F11DEC3A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5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4CD1CE55-A491-B63A-4D8A-5DCAA9CD1F2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ripper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64471234-38EF-4209-8C70-2CC4209352E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9" name="矩形 78">
            <a:hlinkClick r:id="rId37" action="ppaction://hlinksldjump"/>
            <a:extLst>
              <a:ext uri="{FF2B5EF4-FFF2-40B4-BE49-F238E27FC236}">
                <a16:creationId xmlns:a16="http://schemas.microsoft.com/office/drawing/2014/main" id="{FCBA205D-1A6A-1E95-FFB0-9133A430071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3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AFD7CF71-F573-228C-3722-FF5AFEB3E7C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87E3AA16-A95B-96D5-9C00-67C70A43270A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2D3511FE-8A42-718C-228D-1FB798B26F4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FF3D2262-B56E-1AE6-9B0F-A6A4C2FBC6AA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7014C2D7-17AA-715B-D441-CB166F203AEE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A06F49CE-54C4-8806-CE61-96E950AC4961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E8F0C385-98BB-A350-11EB-3E8AF7060C9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F3763160-6061-8C4A-EE87-D05B247B0B64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3ACCC063-367C-A84D-0D60-DE9D87B23B8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C131BE8C-1040-29D3-323A-1B029DD83CDE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DEF1F389-001C-C391-F973-61EB69CA8C3C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7985DFE2-F9EB-3EBF-96E3-8C9DD2BDD7E2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D02495FD-1123-CD71-AFFB-E8A596F01252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4145267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41558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BE64B9F4-304F-52C0-B053-9F26B1423E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AFE67A0B-BD9D-19E1-E140-69BA2A8A9B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542655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ular Approaches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195292BC-CB6F-B12B-A308-46D312948F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6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288F6DA1-590E-E25B-40C2-1B1DB207A80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40D597C2-BB10-2C3E-6C85-3979DFFE7E0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Approaches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E99908E1-0B0C-1A92-52C7-BCC04E35C98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5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8B468E17-532A-BD44-CD48-D4EC0ED6680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5957EE1E-1DA8-C1C2-EE33-2679C3CBA17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nguage-Guided Grasp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56F61AE0-B776-CDEA-6B12-535FDD066B5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7F4BB95D-04A2-E0CE-2F91-6928FAAD5FC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7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28AAE43E-D5D6-52D2-1569-82535089992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F5DA0862-7CA8-1EB0-90B4-BC52BEC488D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2" name="矩形 81">
            <a:hlinkClick r:id="rId36" action="ppaction://hlinksldjump"/>
            <a:extLst>
              <a:ext uri="{FF2B5EF4-FFF2-40B4-BE49-F238E27FC236}">
                <a16:creationId xmlns:a16="http://schemas.microsoft.com/office/drawing/2014/main" id="{47EB8AC0-ACFB-BCC6-DD95-1F022732DBD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5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0D5B3692-A75B-7343-65A3-E8C1EB93494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ripper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63ABDB30-FE04-5714-6ED2-DA09F28AE72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74E87500-E9A8-A56F-911D-17212A26BF5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441569" y="310850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32CA0646-5278-C3CB-75B3-21571EFCE62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6A8CB867-F72D-00BB-C698-1DDB80B32E95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0AAEB12F-E544-693C-8903-B22B7F04D355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B73148CD-A642-AD39-25E9-752D2F7D45D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E452BB6A-717B-4C93-A207-3A45329ED1D8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5946FB06-2866-C18F-C411-174A174AEBAE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EAB3C18C-8D8B-A732-0DAF-BF744F61131C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29CA8597-4105-9988-3A25-EA41967D35E7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A085FA3B-87B9-0508-6A42-FF99726E9D4F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0F5FB64B-78D1-E6BF-8A86-D8C8ADA2E737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3D6098D2-A7E3-C795-3A55-ED22EDECB5D9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061FADC7-7686-A0C6-EF98-47951169C123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E7A8869F-4153-7CFF-AFD8-2641FFA9F41E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7516070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38655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48A2BBCF-071F-C976-73C7-85FCC917F9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CD66A49A-D5E1-4079-C636-DBC26797F0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542655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ular Approaches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4431AE3D-A2D7-50E7-0556-1AC38A239A6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6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9C14A79E-14BA-50CB-866F-B36583A0AA4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B145D6B8-200B-0DC1-1B83-6603C92CF53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Approaches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DB8E000A-983B-0873-1DF5-37A0F603BAB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5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580B9A65-F312-8644-533C-F3A057E8BCA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2C97CF93-AFA7-FD28-7318-C40DE6B72A0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nguage-Guided Grasp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3BA43335-BF21-0876-DB4B-88F79906247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A3EF18BD-10FC-135D-EE60-FDED053AE37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7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DD16BC9B-8E9F-CFE4-64A3-9CF41BCC6C5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97C82599-5602-49A2-7925-E9AF529D7C38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9FF75595-3600-F821-4631-75D4686B782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441569" y="357211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E4ECBE15-1D92-965C-E27C-A008AEE8505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C956C9DA-D9BD-D1BE-483A-5AD82D381CA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ripper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C5A667C5-7EEA-D170-321E-78274BCFD2B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C2A5EADB-E7C2-144E-3482-D0B3D42E6AE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BE74FCF4-23EE-249D-2EE1-7476373CC1A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50025B01-0A27-EC72-DBAB-B7F91FE3512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840D8359-EC66-142D-B423-81AFE7E74CB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B3E31FE2-C430-CD6E-D0C1-24E4DAAB914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253F6972-7863-6FA6-E0E7-F2FBA31A3857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F6FBC3A7-50E7-40A3-F00D-75E96C3AC312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3B2E63F7-8D7C-AB13-351E-D21544BA397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38B64196-D20D-6261-4988-43B8C34BA51B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149D46C1-9C7F-CFA8-8BC3-3BA949437BDB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12F84295-07BD-DA87-4978-12EB73E2314A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EB1CDF84-CDAD-5A4F-0384-CC0FC931E609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2440D008-19A2-7BAB-87B0-9044EB8DD5E6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2250905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878612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EF4EF887-F7E7-A129-5B30-8C782DF8C6E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E3498204-312F-3901-EC1F-11299B77245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542655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ular Approaches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A12603FD-E033-FCDB-F22C-9788C426F8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6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089E6B1A-E89C-FCBD-3726-2152CDF6665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F103F4D3-8BC1-18A9-370C-450FC08DA03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Approaches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8E2F5B7B-CE06-BD77-9E86-A4F6835785A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5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4DF9AB55-E810-9904-7E37-9DE07E6B6A3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13BDD052-F536-52E6-301D-B1F1FEA52D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nguage-Guided Grasp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82327210-22A7-A4CA-3331-F087E2500C1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9BC9C8E9-8F6C-83E2-64F3-8558A343DF0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41569" y="403572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9C298BA6-1793-6B08-7201-D9F622F70BB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49E45AA5-94FD-FD09-DB00-7368F8456D6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AC7DC270-A310-B2EA-7637-7DFB8016ACB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1E0AE024-666C-ADBD-382B-D6BC88B9953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58BD9571-EF14-ADBE-8ACB-620956F1D10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ripper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DDDC2586-14F9-23E9-5AF1-F62FC9AC648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59450A7F-8460-2D3F-44C6-EBCC37844CB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5E0BDCFD-E333-9063-8137-AA6A3640064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9876E8F1-ECEB-D7C7-5BE2-FE2C392A0CE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82764BD2-D06A-DB48-0B27-3488F38BC0BA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860365CC-1E19-CD2D-D588-0E8040247EDD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2E43C1AD-E3D9-0E7A-2656-7672CE80959F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F5F23FB5-B2E4-40FD-4B2B-91E978FF31D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E48D1BFE-6ACA-6818-20BA-D460BBB48119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BCB24029-B548-B2A0-9270-E9126EBD48A7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56A939CB-4C5B-5066-A486-A17A358D0BFA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4C75A9D9-8892-21BE-58D4-130FDAF35BCB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930E5387-B716-88A5-A6B0-4B202972DCCD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303A558D-9951-1969-4C6D-D86AA60B7FB7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5968822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330066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112BF141-270C-4799-FFDD-A5DEB1D6B0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EB5E2B8F-3F90-6C23-D9F0-74B3DB29AD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542655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ular Approaches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609DD91C-78FE-A17D-F649-938119C748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6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D081284F-C277-5628-BFF8-880709C4886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B5ADF846-0F21-76B4-0730-066364B3F9C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Approaches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9F5DC568-6E5E-9915-08C6-659284FE2F1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5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F40DC12F-F87F-D3A5-86C0-161F48B83F9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441569" y="4499335"/>
            <a:ext cx="1023369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44AAE1F3-800B-A751-14BF-98FF7C590ED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9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FE68E34C-91C5-4629-8B94-D70B6049CB7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nguage-Guided Grasping</a:t>
            </a:r>
          </a:p>
        </p:txBody>
      </p:sp>
      <p:sp>
        <p:nvSpPr>
          <p:cNvPr id="85" name="矩形 84">
            <a:hlinkClick r:id="rId34" action="ppaction://hlinksldjump"/>
            <a:extLst>
              <a:ext uri="{FF2B5EF4-FFF2-40B4-BE49-F238E27FC236}">
                <a16:creationId xmlns:a16="http://schemas.microsoft.com/office/drawing/2014/main" id="{F4DED3E4-8452-F7B7-CE37-FBE862C44F8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52337CD7-C958-6262-1464-4589016AD98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F7895C4F-EDA6-22E2-A1E6-301C57F961D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4CD13F3F-D87C-704E-A79F-98F637AE8D8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72FE0FAD-8189-0CC7-034A-1FF1E79AAB0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0CF040B2-79CA-EC48-F819-E79FB4F6E9A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ripper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114092C4-9C97-119D-8936-584B6B4E478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00E27741-ECFD-AC2E-46A6-517D8C58036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824427FA-C226-F6FF-3AE6-CF0F33D3008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25F4F67D-9053-5680-4E46-CE5F5B108FD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D7DCCF39-FC2E-4EFF-E96E-2983439CFE85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F527779B-8621-45F5-E438-8D47F1A7EAA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68B4B858-487B-5340-4CF2-F033064BE0B4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BC97DE7E-3EE4-31D7-9909-3D56FA032C75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AF6EB57D-0C9C-8DCC-7CEA-918AF01A47D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8D9604AA-5BD3-773F-785C-67655DB56613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EDFD76CC-3B64-C87D-67C4-8875FB3F66B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7D7B9DBD-3B4A-35A4-BA3B-508CB08EC5C3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2CF6F5F5-D2F5-341F-97E9-B1B0B99F8B7E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38DE1BE6-1EC9-15B9-846E-210F55B42948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14427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3ECA191-08C1-09E3-2B3F-A041CA256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ECA191-08C1-09E3-2B3F-A041CA256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Introduction</a:t>
            </a:r>
            <a:endParaRPr 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6D1A462-C6E5-68FA-1C5C-5BD5D8C513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5885" y="1386177"/>
            <a:ext cx="6408975" cy="4823878"/>
          </a:xfrm>
          <a:prstGeom prst="rect">
            <a:avLst/>
          </a:prstGeom>
        </p:spPr>
      </p:pic>
      <p:sp>
        <p:nvSpPr>
          <p:cNvPr id="7" name="内容占位符 2">
            <a:extLst>
              <a:ext uri="{FF2B5EF4-FFF2-40B4-BE49-F238E27FC236}">
                <a16:creationId xmlns:a16="http://schemas.microsoft.com/office/drawing/2014/main" id="{9F74D03F-EC23-16EF-3207-983ABD3958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7140" y="2065741"/>
            <a:ext cx="4782105" cy="358844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zh-CN" altLang="en-US" sz="2400" dirty="0"/>
              <a:t>具身智能体主动与物理环境交互，涵盖各种各样的具体形式，包括机器人、智能家电、智能眼镜、自动驾驶汽车等。 </a:t>
            </a:r>
            <a:endParaRPr lang="en-US" altLang="zh-CN" sz="2400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400" dirty="0"/>
              <a:t>其中，机器人脱颖而出，成为最突出的体现之一。 </a:t>
            </a:r>
            <a:endParaRPr lang="en-US" altLang="zh-CN" sz="2400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400" dirty="0"/>
              <a:t>根据应用的不同，机器人以各种形式设计，以利用其硬件特性来执行特定任务</a:t>
            </a: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1193427734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286763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8971424E-3F80-4D41-C0D8-5B6B54B698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AF892E53-DF2D-5015-EFE9-C1EAE6F103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542655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ular Approaches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56752184-61BF-4E8A-9B82-509CBDD6CE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6</a:t>
            </a: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51026907-149F-663C-9988-8BA0D71A024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41569" y="4962946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49856584-20DB-31FC-EFF5-EA8D5B9A212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1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E35915BF-3640-C53A-1E7B-4AF9618F00E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41569" y="496294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Approaches</a:t>
            </a:r>
          </a:p>
        </p:txBody>
      </p:sp>
      <p:sp>
        <p:nvSpPr>
          <p:cNvPr id="88" name="矩形 87">
            <a:hlinkClick r:id="rId33" action="ppaction://hlinksldjump"/>
            <a:extLst>
              <a:ext uri="{FF2B5EF4-FFF2-40B4-BE49-F238E27FC236}">
                <a16:creationId xmlns:a16="http://schemas.microsoft.com/office/drawing/2014/main" id="{E41BAB66-1B1C-9C44-3F6B-C349E803B40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5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B8E59845-B0CA-8BDD-E5F7-74FADDA7142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9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FBE82919-CDC9-1750-B6DF-A2F19BB39AD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nguage-Guided Grasping</a:t>
            </a:r>
          </a:p>
        </p:txBody>
      </p:sp>
      <p:sp>
        <p:nvSpPr>
          <p:cNvPr id="85" name="矩形 84">
            <a:hlinkClick r:id="rId34" action="ppaction://hlinksldjump"/>
            <a:extLst>
              <a:ext uri="{FF2B5EF4-FFF2-40B4-BE49-F238E27FC236}">
                <a16:creationId xmlns:a16="http://schemas.microsoft.com/office/drawing/2014/main" id="{C02BC5B4-9224-0C95-41AD-0A4686B576E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59027642-FB49-6565-DEB9-2E05EE10519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7E252F1E-C0F2-C918-A0AC-7387BC2121A8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9571FF3E-4FAE-7CB1-7693-F400797F886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52B5632E-15BE-2182-64D7-F85BF1893AF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E72232B8-4F21-1A06-0820-3CE829060A1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ripper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FDBDD594-08F0-27D9-32BC-9568046988D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8121501F-D6C4-16A4-C505-81784EFD5B5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68B252F7-D734-579A-0DFB-808342FE36B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A1278492-BF7E-B28F-C50E-D46E6E3F2F25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C6CDE781-EDEF-4912-2E1B-AFD71337647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1C457ED8-357C-B17D-1AFD-48A5EF171BD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6C2DBB75-C61D-419C-2144-691A360F0281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D0B52C3B-48F2-4E24-21CE-6DD60EC79CA6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E5134126-8AE8-F23D-7A62-BF7EA2B9B35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A5EBB361-47A8-0BF0-185A-4B2152F1D847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80333F20-A34E-074A-4480-2B5ADEEDDBB4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635B0EEF-48C4-047F-32D7-AF6EE1911F99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491A0BA1-3EB4-53F2-ABA1-295076255AB8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F7D0E892-D749-82A3-7B36-878DBC994DCD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0710458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287025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extLst>
              <a:ext uri="{FF2B5EF4-FFF2-40B4-BE49-F238E27FC236}">
                <a16:creationId xmlns:a16="http://schemas.microsoft.com/office/drawing/2014/main" id="{9D70C4EE-7EF6-205C-FB5F-5CCD280282B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41569" y="5426556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DEDD12DE-D846-966C-0F21-213D02FEB6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3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C67A38A5-3247-D55A-1CE3-6B1F3E841B7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41569" y="542655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ular Approaches</a:t>
            </a:r>
          </a:p>
        </p:txBody>
      </p:sp>
      <p:sp>
        <p:nvSpPr>
          <p:cNvPr id="91" name="矩形 90">
            <a:hlinkClick r:id="rId32" action="ppaction://hlinksldjump"/>
            <a:extLst>
              <a:ext uri="{FF2B5EF4-FFF2-40B4-BE49-F238E27FC236}">
                <a16:creationId xmlns:a16="http://schemas.microsoft.com/office/drawing/2014/main" id="{E285A782-D53E-7C8C-438C-B9A5F0EEA3C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6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716C04BA-968A-9D1A-3420-3ACD826481B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1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F0D85BA6-18B4-BC02-3547-BA1EC943665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41569" y="4962946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nd-to-End Approaches</a:t>
            </a:r>
          </a:p>
        </p:txBody>
      </p:sp>
      <p:sp>
        <p:nvSpPr>
          <p:cNvPr id="88" name="矩形 87">
            <a:hlinkClick r:id="rId33" action="ppaction://hlinksldjump"/>
            <a:extLst>
              <a:ext uri="{FF2B5EF4-FFF2-40B4-BE49-F238E27FC236}">
                <a16:creationId xmlns:a16="http://schemas.microsoft.com/office/drawing/2014/main" id="{F5AC36D3-DA8B-F20B-DBE9-8513182BD21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5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3505FD37-ED44-6064-20A7-25ADC85130A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9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55A7629C-E645-FFD7-2BAF-CBD2FE46223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anguage-Guided Grasping</a:t>
            </a:r>
          </a:p>
        </p:txBody>
      </p:sp>
      <p:sp>
        <p:nvSpPr>
          <p:cNvPr id="85" name="矩形 84">
            <a:hlinkClick r:id="rId34" action="ppaction://hlinksldjump"/>
            <a:extLst>
              <a:ext uri="{FF2B5EF4-FFF2-40B4-BE49-F238E27FC236}">
                <a16:creationId xmlns:a16="http://schemas.microsoft.com/office/drawing/2014/main" id="{27B48A2F-5209-8C23-6CBA-CEB24968ABE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F7EDD0AB-0B95-305D-B102-F445973F5C6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E7D256DF-0CF6-8EDC-77A5-58FA2C96D9F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5477AC9C-2351-5F53-547F-1FAF05A3EA6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8E4BB7B1-8211-9FC9-D6D6-B6F59E56DE9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C0E986DD-BDE5-181D-1C74-C72CBA21564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ripper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1123EAF2-D4DC-7052-70AE-67B93FC039B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5B3E36D1-5734-C117-2813-E3058D5B33D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1EB40454-A6F1-F2ED-EDC1-81D6F4E4BB9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25D52BD5-273F-CECA-6A1D-B13FB2B66B0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0E3ED044-D5D1-C876-7006-36E32251C14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9C3DD91E-7547-9445-74F5-9E55A2435C00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081C826C-00E1-7C38-1A1D-A7A771F4098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76448855-00A4-64C1-397A-5B375D2DE408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113FE61D-6339-AA49-69F0-D8D08E887A5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C1CF2C0D-D52C-7406-185C-78A865D6BCB2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1D54BE36-8F6B-5D92-9C10-E1E73B582D18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10609DCD-6FFF-7A62-4A8C-4C8684FA2771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A55F29E2-7EA5-A77F-AA26-0657D12C53DC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E25406E4-4BBE-EB92-DBE4-0A7F6A7CD701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9069317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895127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矩形 140">
            <a:hlinkClick r:id="rId29" action="ppaction://hlinksldjump"/>
            <a:extLst>
              <a:ext uri="{FF2B5EF4-FFF2-40B4-BE49-F238E27FC236}">
                <a16:creationId xmlns:a16="http://schemas.microsoft.com/office/drawing/2014/main" id="{B89A80AC-728A-987B-B13A-A00E4AA40F5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5</a:t>
            </a:r>
          </a:p>
        </p:txBody>
      </p:sp>
      <p:sp>
        <p:nvSpPr>
          <p:cNvPr id="140" name="矩形 139">
            <a:hlinkClick r:id="rId29" action="ppaction://hlinksldjump"/>
            <a:extLst>
              <a:ext uri="{FF2B5EF4-FFF2-40B4-BE49-F238E27FC236}">
                <a16:creationId xmlns:a16="http://schemas.microsoft.com/office/drawing/2014/main" id="{C26871FD-B551-A37F-C740-5383720726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&amp; Future Directions</a:t>
            </a:r>
          </a:p>
        </p:txBody>
      </p:sp>
      <p:sp>
        <p:nvSpPr>
          <p:cNvPr id="139" name="矩形 138">
            <a:hlinkClick r:id="rId29" action="ppaction://hlinksldjump"/>
            <a:extLst>
              <a:ext uri="{FF2B5EF4-FFF2-40B4-BE49-F238E27FC236}">
                <a16:creationId xmlns:a16="http://schemas.microsoft.com/office/drawing/2014/main" id="{B2DC8906-B792-229D-9DC8-9FE0D599E93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38" name="矩形 137">
            <a:hlinkClick r:id="rId30" action="ppaction://hlinksldjump"/>
            <a:extLst>
              <a:ext uri="{FF2B5EF4-FFF2-40B4-BE49-F238E27FC236}">
                <a16:creationId xmlns:a16="http://schemas.microsoft.com/office/drawing/2014/main" id="{D6FA0378-F6EC-FDDB-34D6-8D2F6E4785C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9</a:t>
            </a:r>
          </a:p>
        </p:txBody>
      </p:sp>
      <p:sp>
        <p:nvSpPr>
          <p:cNvPr id="137" name="矩形 136">
            <a:hlinkClick r:id="rId30" action="ppaction://hlinksldjump"/>
            <a:extLst>
              <a:ext uri="{FF2B5EF4-FFF2-40B4-BE49-F238E27FC236}">
                <a16:creationId xmlns:a16="http://schemas.microsoft.com/office/drawing/2014/main" id="{30DA755C-7F51-05C5-1763-D31F11363C0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96395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136" name="矩形 135">
            <a:hlinkClick r:id="rId30" action="ppaction://hlinksldjump"/>
            <a:extLst>
              <a:ext uri="{FF2B5EF4-FFF2-40B4-BE49-F238E27FC236}">
                <a16:creationId xmlns:a16="http://schemas.microsoft.com/office/drawing/2014/main" id="{B6BE9928-2208-D37E-DB39-30BCA32774B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35" name="矩形 134">
            <a:extLst>
              <a:ext uri="{FF2B5EF4-FFF2-40B4-BE49-F238E27FC236}">
                <a16:creationId xmlns:a16="http://schemas.microsoft.com/office/drawing/2014/main" id="{44C2373B-E463-7DF2-0A1D-DA4ABF5F535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03572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34" name="矩形 133">
            <a:hlinkClick r:id="rId31" action="ppaction://hlinksldjump"/>
            <a:extLst>
              <a:ext uri="{FF2B5EF4-FFF2-40B4-BE49-F238E27FC236}">
                <a16:creationId xmlns:a16="http://schemas.microsoft.com/office/drawing/2014/main" id="{6283672A-211A-7F77-C7A1-F9E85200F36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5</a:t>
            </a:r>
          </a:p>
        </p:txBody>
      </p:sp>
      <p:sp>
        <p:nvSpPr>
          <p:cNvPr id="133" name="矩形 132">
            <a:hlinkClick r:id="rId31" action="ppaction://hlinksldjump"/>
            <a:extLst>
              <a:ext uri="{FF2B5EF4-FFF2-40B4-BE49-F238E27FC236}">
                <a16:creationId xmlns:a16="http://schemas.microsoft.com/office/drawing/2014/main" id="{521074CE-E098-D938-B0A2-131785001D7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132" name="矩形 131">
            <a:hlinkClick r:id="rId31" action="ppaction://hlinksldjump"/>
            <a:extLst>
              <a:ext uri="{FF2B5EF4-FFF2-40B4-BE49-F238E27FC236}">
                <a16:creationId xmlns:a16="http://schemas.microsoft.com/office/drawing/2014/main" id="{AEE53BC2-3A5A-7291-56E2-A8131D26F8B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1" name="矩形 130">
            <a:hlinkClick r:id="rId32" action="ppaction://hlinksldjump"/>
            <a:extLst>
              <a:ext uri="{FF2B5EF4-FFF2-40B4-BE49-F238E27FC236}">
                <a16:creationId xmlns:a16="http://schemas.microsoft.com/office/drawing/2014/main" id="{91599456-11C2-5733-5A46-BA92A60151F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5</a:t>
            </a:r>
          </a:p>
        </p:txBody>
      </p:sp>
      <p:sp>
        <p:nvSpPr>
          <p:cNvPr id="130" name="矩形 129">
            <a:hlinkClick r:id="rId32" action="ppaction://hlinksldjump"/>
            <a:extLst>
              <a:ext uri="{FF2B5EF4-FFF2-40B4-BE49-F238E27FC236}">
                <a16:creationId xmlns:a16="http://schemas.microsoft.com/office/drawing/2014/main" id="{32335897-0687-9E4B-437A-19CFD78D727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129" name="矩形 128">
            <a:hlinkClick r:id="rId32" action="ppaction://hlinksldjump"/>
            <a:extLst>
              <a:ext uri="{FF2B5EF4-FFF2-40B4-BE49-F238E27FC236}">
                <a16:creationId xmlns:a16="http://schemas.microsoft.com/office/drawing/2014/main" id="{BEF411EC-EC91-2A80-AB8A-FEDA9EF008F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8" name="矩形 127">
            <a:hlinkClick r:id="rId33" action="ppaction://hlinksldjump"/>
            <a:extLst>
              <a:ext uri="{FF2B5EF4-FFF2-40B4-BE49-F238E27FC236}">
                <a16:creationId xmlns:a16="http://schemas.microsoft.com/office/drawing/2014/main" id="{57AD56AA-DD69-81C9-BA07-4B3A741228A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5</a:t>
            </a:r>
          </a:p>
        </p:txBody>
      </p:sp>
      <p:sp>
        <p:nvSpPr>
          <p:cNvPr id="127" name="矩形 126">
            <a:hlinkClick r:id="rId33" action="ppaction://hlinksldjump"/>
            <a:extLst>
              <a:ext uri="{FF2B5EF4-FFF2-40B4-BE49-F238E27FC236}">
                <a16:creationId xmlns:a16="http://schemas.microsoft.com/office/drawing/2014/main" id="{0BF3F967-5603-6E62-F2A2-BCECEE46B6D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126" name="矩形 125">
            <a:hlinkClick r:id="rId33" action="ppaction://hlinksldjump"/>
            <a:extLst>
              <a:ext uri="{FF2B5EF4-FFF2-40B4-BE49-F238E27FC236}">
                <a16:creationId xmlns:a16="http://schemas.microsoft.com/office/drawing/2014/main" id="{7D24AB74-EEAC-86BD-1101-9DFAE5099E3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5" name="矩形 124">
            <a:hlinkClick r:id="rId34" action="ppaction://hlinksldjump"/>
            <a:extLst>
              <a:ext uri="{FF2B5EF4-FFF2-40B4-BE49-F238E27FC236}">
                <a16:creationId xmlns:a16="http://schemas.microsoft.com/office/drawing/2014/main" id="{D4F6EFC7-C27F-C73A-ED7C-A1F9F0A8F0E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124" name="矩形 123">
            <a:hlinkClick r:id="rId34" action="ppaction://hlinksldjump"/>
            <a:extLst>
              <a:ext uri="{FF2B5EF4-FFF2-40B4-BE49-F238E27FC236}">
                <a16:creationId xmlns:a16="http://schemas.microsoft.com/office/drawing/2014/main" id="{B2E94B50-B640-D8FF-B68A-B0E87749851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123" name="矩形 122">
            <a:hlinkClick r:id="rId34" action="ppaction://hlinksldjump"/>
            <a:extLst>
              <a:ext uri="{FF2B5EF4-FFF2-40B4-BE49-F238E27FC236}">
                <a16:creationId xmlns:a16="http://schemas.microsoft.com/office/drawing/2014/main" id="{5C228585-7F8F-E7B6-4E74-B3DEB81B5DA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2" name="矩形 121">
            <a:hlinkClick r:id="rId35" action="ppaction://hlinksldjump"/>
            <a:extLst>
              <a:ext uri="{FF2B5EF4-FFF2-40B4-BE49-F238E27FC236}">
                <a16:creationId xmlns:a16="http://schemas.microsoft.com/office/drawing/2014/main" id="{B98FA66A-C452-36D2-48E2-3F13CF8A839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121" name="矩形 120">
            <a:hlinkClick r:id="rId35" action="ppaction://hlinksldjump"/>
            <a:extLst>
              <a:ext uri="{FF2B5EF4-FFF2-40B4-BE49-F238E27FC236}">
                <a16:creationId xmlns:a16="http://schemas.microsoft.com/office/drawing/2014/main" id="{F5195B18-AA70-1D7A-38A1-0E72C9F09AF3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120" name="矩形 119">
            <a:hlinkClick r:id="rId35" action="ppaction://hlinksldjump"/>
            <a:extLst>
              <a:ext uri="{FF2B5EF4-FFF2-40B4-BE49-F238E27FC236}">
                <a16:creationId xmlns:a16="http://schemas.microsoft.com/office/drawing/2014/main" id="{92BDE826-5F12-A049-15A0-241155F5E18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9" name="矩形 118">
            <a:hlinkClick r:id="rId36" action="ppaction://hlinksldjump"/>
            <a:extLst>
              <a:ext uri="{FF2B5EF4-FFF2-40B4-BE49-F238E27FC236}">
                <a16:creationId xmlns:a16="http://schemas.microsoft.com/office/drawing/2014/main" id="{73108810-BE0E-E017-6070-B749EA2FD349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8" name="矩形 117">
            <a:hlinkClick r:id="rId36" action="ppaction://hlinksldjump"/>
            <a:extLst>
              <a:ext uri="{FF2B5EF4-FFF2-40B4-BE49-F238E27FC236}">
                <a16:creationId xmlns:a16="http://schemas.microsoft.com/office/drawing/2014/main" id="{E5BF72B7-4954-ABE0-DEDA-8CECAE78F47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117" name="矩形 116">
            <a:hlinkClick r:id="rId36" action="ppaction://hlinksldjump"/>
            <a:extLst>
              <a:ext uri="{FF2B5EF4-FFF2-40B4-BE49-F238E27FC236}">
                <a16:creationId xmlns:a16="http://schemas.microsoft.com/office/drawing/2014/main" id="{87BA419C-1F97-955D-24B8-6D79D43FA15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6" name="标题 115">
            <a:extLst>
              <a:ext uri="{FF2B5EF4-FFF2-40B4-BE49-F238E27FC236}">
                <a16:creationId xmlns:a16="http://schemas.microsoft.com/office/drawing/2014/main" id="{4B66F462-54FD-6746-8400-BA851CC5F341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Tools &amp; Task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0387095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453300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矩形 48">
            <a:hlinkClick r:id="rId17" action="ppaction://hlinksldjump"/>
            <a:extLst>
              <a:ext uri="{FF2B5EF4-FFF2-40B4-BE49-F238E27FC236}">
                <a16:creationId xmlns:a16="http://schemas.microsoft.com/office/drawing/2014/main" id="{65FE6E90-1ED9-308B-3917-D5526448AC2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1</a:t>
            </a:r>
          </a:p>
        </p:txBody>
      </p:sp>
      <p:sp>
        <p:nvSpPr>
          <p:cNvPr id="48" name="矩形 47">
            <a:hlinkClick r:id="rId17" action="ppaction://hlinksldjump"/>
            <a:extLst>
              <a:ext uri="{FF2B5EF4-FFF2-40B4-BE49-F238E27FC236}">
                <a16:creationId xmlns:a16="http://schemas.microsoft.com/office/drawing/2014/main" id="{B481A362-5747-92B3-2B35-A1F3163D95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Action Planning</a:t>
            </a:r>
          </a:p>
        </p:txBody>
      </p:sp>
      <p:sp>
        <p:nvSpPr>
          <p:cNvPr id="47" name="矩形 46">
            <a:hlinkClick r:id="rId17" action="ppaction://hlinksldjump"/>
            <a:extLst>
              <a:ext uri="{FF2B5EF4-FFF2-40B4-BE49-F238E27FC236}">
                <a16:creationId xmlns:a16="http://schemas.microsoft.com/office/drawing/2014/main" id="{DE372DB5-35FA-F534-9E90-1A3F87B43EB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矩形 45">
            <a:hlinkClick r:id="rId18" action="ppaction://hlinksldjump"/>
            <a:extLst>
              <a:ext uri="{FF2B5EF4-FFF2-40B4-BE49-F238E27FC236}">
                <a16:creationId xmlns:a16="http://schemas.microsoft.com/office/drawing/2014/main" id="{1764D6AE-C02D-6F7B-64AD-097FAB00CE1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1</a:t>
            </a:r>
          </a:p>
        </p:txBody>
      </p:sp>
      <p:sp>
        <p:nvSpPr>
          <p:cNvPr id="45" name="矩形 44">
            <a:hlinkClick r:id="rId18" action="ppaction://hlinksldjump"/>
            <a:extLst>
              <a:ext uri="{FF2B5EF4-FFF2-40B4-BE49-F238E27FC236}">
                <a16:creationId xmlns:a16="http://schemas.microsoft.com/office/drawing/2014/main" id="{E72977A3-D764-1941-B38C-028EF0374BF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64489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Task Planning</a:t>
            </a:r>
          </a:p>
        </p:txBody>
      </p:sp>
      <p:sp>
        <p:nvSpPr>
          <p:cNvPr id="44" name="矩形 43">
            <a:hlinkClick r:id="rId18" action="ppaction://hlinksldjump"/>
            <a:extLst>
              <a:ext uri="{FF2B5EF4-FFF2-40B4-BE49-F238E27FC236}">
                <a16:creationId xmlns:a16="http://schemas.microsoft.com/office/drawing/2014/main" id="{E1692A0A-6592-E108-0E03-5F4F392499F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3" name="矩形 42">
            <a:hlinkClick r:id="rId19" action="ppaction://hlinksldjump"/>
            <a:extLst>
              <a:ext uri="{FF2B5EF4-FFF2-40B4-BE49-F238E27FC236}">
                <a16:creationId xmlns:a16="http://schemas.microsoft.com/office/drawing/2014/main" id="{71EC6B44-E161-211B-1A8A-7545AAACBB1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9</a:t>
            </a:r>
          </a:p>
        </p:txBody>
      </p:sp>
      <p:sp>
        <p:nvSpPr>
          <p:cNvPr id="42" name="矩形 41">
            <a:hlinkClick r:id="rId19" action="ppaction://hlinksldjump"/>
            <a:extLst>
              <a:ext uri="{FF2B5EF4-FFF2-40B4-BE49-F238E27FC236}">
                <a16:creationId xmlns:a16="http://schemas.microsoft.com/office/drawing/2014/main" id="{53FD7FAE-27E2-5706-FE27-94D8AA06101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18128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Multimodal Foundation Model</a:t>
            </a:r>
          </a:p>
        </p:txBody>
      </p:sp>
      <p:sp>
        <p:nvSpPr>
          <p:cNvPr id="41" name="矩形 40">
            <a:hlinkClick r:id="rId19" action="ppaction://hlinksldjump"/>
            <a:extLst>
              <a:ext uri="{FF2B5EF4-FFF2-40B4-BE49-F238E27FC236}">
                <a16:creationId xmlns:a16="http://schemas.microsoft.com/office/drawing/2014/main" id="{EEEC2415-9CEB-3E64-5706-F8865B8F655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2F0DB3A-FA71-7CAD-AD14-92E59D32E55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9" name="矩形 38">
            <a:hlinkClick r:id="rId20" action="ppaction://hlinksldjump"/>
            <a:extLst>
              <a:ext uri="{FF2B5EF4-FFF2-40B4-BE49-F238E27FC236}">
                <a16:creationId xmlns:a16="http://schemas.microsoft.com/office/drawing/2014/main" id="{0CA59272-8A84-3CC0-616A-90B756696C4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7</a:t>
            </a:r>
          </a:p>
        </p:txBody>
      </p:sp>
      <p:sp>
        <p:nvSpPr>
          <p:cNvPr id="38" name="矩形 37">
            <a:hlinkClick r:id="rId20" action="ppaction://hlinksldjump"/>
            <a:extLst>
              <a:ext uri="{FF2B5EF4-FFF2-40B4-BE49-F238E27FC236}">
                <a16:creationId xmlns:a16="http://schemas.microsoft.com/office/drawing/2014/main" id="{4FCA58FB-F354-C9E5-5F28-96988324F1B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7" name="矩形 36">
            <a:hlinkClick r:id="rId20" action="ppaction://hlinksldjump"/>
            <a:extLst>
              <a:ext uri="{FF2B5EF4-FFF2-40B4-BE49-F238E27FC236}">
                <a16:creationId xmlns:a16="http://schemas.microsoft.com/office/drawing/2014/main" id="{60A2083D-4A4F-A037-549E-A8A3948AB99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6" name="标题 35">
            <a:extLst>
              <a:ext uri="{FF2B5EF4-FFF2-40B4-BE49-F238E27FC236}">
                <a16:creationId xmlns:a16="http://schemas.microsoft.com/office/drawing/2014/main" id="{12B161D8-96C3-D898-375E-C5BE7BE75677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Executions of Ag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9951745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829607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矩形 48">
            <a:hlinkClick r:id="rId17" action="ppaction://hlinksldjump"/>
            <a:extLst>
              <a:ext uri="{FF2B5EF4-FFF2-40B4-BE49-F238E27FC236}">
                <a16:creationId xmlns:a16="http://schemas.microsoft.com/office/drawing/2014/main" id="{046E62C4-A277-3E07-C8B5-BBCC8C3F2D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1</a:t>
            </a:r>
          </a:p>
        </p:txBody>
      </p:sp>
      <p:sp>
        <p:nvSpPr>
          <p:cNvPr id="48" name="矩形 47">
            <a:hlinkClick r:id="rId17" action="ppaction://hlinksldjump"/>
            <a:extLst>
              <a:ext uri="{FF2B5EF4-FFF2-40B4-BE49-F238E27FC236}">
                <a16:creationId xmlns:a16="http://schemas.microsoft.com/office/drawing/2014/main" id="{1198C3AE-4E08-C389-F321-082A5CA954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Action Planning</a:t>
            </a:r>
          </a:p>
        </p:txBody>
      </p:sp>
      <p:sp>
        <p:nvSpPr>
          <p:cNvPr id="47" name="矩形 46">
            <a:hlinkClick r:id="rId17" action="ppaction://hlinksldjump"/>
            <a:extLst>
              <a:ext uri="{FF2B5EF4-FFF2-40B4-BE49-F238E27FC236}">
                <a16:creationId xmlns:a16="http://schemas.microsoft.com/office/drawing/2014/main" id="{2004BC8E-70AB-1038-99EC-FCA7305765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矩形 45">
            <a:hlinkClick r:id="rId18" action="ppaction://hlinksldjump"/>
            <a:extLst>
              <a:ext uri="{FF2B5EF4-FFF2-40B4-BE49-F238E27FC236}">
                <a16:creationId xmlns:a16="http://schemas.microsoft.com/office/drawing/2014/main" id="{B17A8E5F-D393-8706-779C-EF70323CB40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1</a:t>
            </a:r>
          </a:p>
        </p:txBody>
      </p:sp>
      <p:sp>
        <p:nvSpPr>
          <p:cNvPr id="45" name="矩形 44">
            <a:hlinkClick r:id="rId18" action="ppaction://hlinksldjump"/>
            <a:extLst>
              <a:ext uri="{FF2B5EF4-FFF2-40B4-BE49-F238E27FC236}">
                <a16:creationId xmlns:a16="http://schemas.microsoft.com/office/drawing/2014/main" id="{62A8222D-3DCD-47E9-07D1-88A73760B94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64489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Task Planning</a:t>
            </a:r>
          </a:p>
        </p:txBody>
      </p:sp>
      <p:sp>
        <p:nvSpPr>
          <p:cNvPr id="44" name="矩形 43">
            <a:hlinkClick r:id="rId18" action="ppaction://hlinksldjump"/>
            <a:extLst>
              <a:ext uri="{FF2B5EF4-FFF2-40B4-BE49-F238E27FC236}">
                <a16:creationId xmlns:a16="http://schemas.microsoft.com/office/drawing/2014/main" id="{759698CF-9F31-C7CC-B2FB-0BE5A45E004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972757C-B291-E567-075C-D4F15B7BB7E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2" name="矩形 41">
            <a:hlinkClick r:id="rId19" action="ppaction://hlinksldjump"/>
            <a:extLst>
              <a:ext uri="{FF2B5EF4-FFF2-40B4-BE49-F238E27FC236}">
                <a16:creationId xmlns:a16="http://schemas.microsoft.com/office/drawing/2014/main" id="{28F4745F-F126-C2D7-3DB1-CBF004D1B5B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9</a:t>
            </a:r>
          </a:p>
        </p:txBody>
      </p:sp>
      <p:sp>
        <p:nvSpPr>
          <p:cNvPr id="41" name="矩形 40">
            <a:hlinkClick r:id="rId19" action="ppaction://hlinksldjump"/>
            <a:extLst>
              <a:ext uri="{FF2B5EF4-FFF2-40B4-BE49-F238E27FC236}">
                <a16:creationId xmlns:a16="http://schemas.microsoft.com/office/drawing/2014/main" id="{96156F1D-C6FB-9318-04DD-C3F1F687C42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18128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Multimodal Foundation Model</a:t>
            </a:r>
          </a:p>
        </p:txBody>
      </p:sp>
      <p:sp>
        <p:nvSpPr>
          <p:cNvPr id="40" name="矩形 39">
            <a:hlinkClick r:id="rId19" action="ppaction://hlinksldjump"/>
            <a:extLst>
              <a:ext uri="{FF2B5EF4-FFF2-40B4-BE49-F238E27FC236}">
                <a16:creationId xmlns:a16="http://schemas.microsoft.com/office/drawing/2014/main" id="{155B8E33-F71C-30E9-3A4B-70B6FE87ECC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9" name="矩形 38">
            <a:hlinkClick r:id="rId20" action="ppaction://hlinksldjump"/>
            <a:extLst>
              <a:ext uri="{FF2B5EF4-FFF2-40B4-BE49-F238E27FC236}">
                <a16:creationId xmlns:a16="http://schemas.microsoft.com/office/drawing/2014/main" id="{C2DAC2B3-4D86-A03E-7F79-7A3C3A8C480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7</a:t>
            </a:r>
          </a:p>
        </p:txBody>
      </p:sp>
      <p:sp>
        <p:nvSpPr>
          <p:cNvPr id="38" name="矩形 37">
            <a:hlinkClick r:id="rId20" action="ppaction://hlinksldjump"/>
            <a:extLst>
              <a:ext uri="{FF2B5EF4-FFF2-40B4-BE49-F238E27FC236}">
                <a16:creationId xmlns:a16="http://schemas.microsoft.com/office/drawing/2014/main" id="{29FF9C3E-C04E-E81A-A201-E7E77D8AA23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7" name="矩形 36">
            <a:hlinkClick r:id="rId20" action="ppaction://hlinksldjump"/>
            <a:extLst>
              <a:ext uri="{FF2B5EF4-FFF2-40B4-BE49-F238E27FC236}">
                <a16:creationId xmlns:a16="http://schemas.microsoft.com/office/drawing/2014/main" id="{F6F80AA8-8921-45A3-B0F1-8F4B983990B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6" name="标题 35">
            <a:extLst>
              <a:ext uri="{FF2B5EF4-FFF2-40B4-BE49-F238E27FC236}">
                <a16:creationId xmlns:a16="http://schemas.microsoft.com/office/drawing/2014/main" id="{7E915F64-6F19-6219-E33A-32E034FE3C5C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Executions of Ag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2846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 25">
            <a:hlinkClick r:id="rId27" action="ppaction://hlinksldjump"/>
            <a:extLst>
              <a:ext uri="{FF2B5EF4-FFF2-40B4-BE49-F238E27FC236}">
                <a16:creationId xmlns:a16="http://schemas.microsoft.com/office/drawing/2014/main" id="{3890FE25-BB83-DB26-C8D2-724854F890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25" name="矩形 24">
            <a:hlinkClick r:id="rId27" action="ppaction://hlinksldjump"/>
            <a:extLst>
              <a:ext uri="{FF2B5EF4-FFF2-40B4-BE49-F238E27FC236}">
                <a16:creationId xmlns:a16="http://schemas.microsoft.com/office/drawing/2014/main" id="{03F88F9C-6EB3-2346-C5A6-E8212384FA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499335"/>
            <a:ext cx="184826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Biomimetic Robots</a:t>
            </a:r>
          </a:p>
        </p:txBody>
      </p:sp>
      <p:sp>
        <p:nvSpPr>
          <p:cNvPr id="24" name="矩形 23">
            <a:hlinkClick r:id="rId27" action="ppaction://hlinksldjump"/>
            <a:extLst>
              <a:ext uri="{FF2B5EF4-FFF2-40B4-BE49-F238E27FC236}">
                <a16:creationId xmlns:a16="http://schemas.microsoft.com/office/drawing/2014/main" id="{26BEF09D-51D6-6329-D241-83FF0962050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23" name="矩形 22">
            <a:hlinkClick r:id="rId28" action="ppaction://hlinksldjump"/>
            <a:extLst>
              <a:ext uri="{FF2B5EF4-FFF2-40B4-BE49-F238E27FC236}">
                <a16:creationId xmlns:a16="http://schemas.microsoft.com/office/drawing/2014/main" id="{5346C729-C6E8-57D1-6182-A5E15B1CB9B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22" name="矩形 21">
            <a:hlinkClick r:id="rId28" action="ppaction://hlinksldjump"/>
            <a:extLst>
              <a:ext uri="{FF2B5EF4-FFF2-40B4-BE49-F238E27FC236}">
                <a16:creationId xmlns:a16="http://schemas.microsoft.com/office/drawing/2014/main" id="{BC756CBA-D478-E9F9-B4EC-0E38BC2CBB1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03572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umanoid Robots</a:t>
            </a:r>
          </a:p>
        </p:txBody>
      </p:sp>
      <p:sp>
        <p:nvSpPr>
          <p:cNvPr id="21" name="矩形 20">
            <a:hlinkClick r:id="rId28" action="ppaction://hlinksldjump"/>
            <a:extLst>
              <a:ext uri="{FF2B5EF4-FFF2-40B4-BE49-F238E27FC236}">
                <a16:creationId xmlns:a16="http://schemas.microsoft.com/office/drawing/2014/main" id="{E7D2B1D9-081A-79C0-07B9-D9B2660ED8F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0" name="矩形 19">
            <a:hlinkClick r:id="rId29" action="ppaction://hlinksldjump"/>
            <a:extLst>
              <a:ext uri="{FF2B5EF4-FFF2-40B4-BE49-F238E27FC236}">
                <a16:creationId xmlns:a16="http://schemas.microsoft.com/office/drawing/2014/main" id="{D177E42A-063C-D63F-78E7-9729F337139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19" name="矩形 18">
            <a:hlinkClick r:id="rId29" action="ppaction://hlinksldjump"/>
            <a:extLst>
              <a:ext uri="{FF2B5EF4-FFF2-40B4-BE49-F238E27FC236}">
                <a16:creationId xmlns:a16="http://schemas.microsoft.com/office/drawing/2014/main" id="{BD9D5113-50EF-B3A2-BE70-D6B79FB3C2D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57211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Quadruped Robots</a:t>
            </a:r>
          </a:p>
        </p:txBody>
      </p:sp>
      <p:sp>
        <p:nvSpPr>
          <p:cNvPr id="18" name="矩形 17">
            <a:hlinkClick r:id="rId29" action="ppaction://hlinksldjump"/>
            <a:extLst>
              <a:ext uri="{FF2B5EF4-FFF2-40B4-BE49-F238E27FC236}">
                <a16:creationId xmlns:a16="http://schemas.microsoft.com/office/drawing/2014/main" id="{13EBAD9D-DD30-63DB-02ED-A49803B26A7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7" name="矩形 16">
            <a:hlinkClick r:id="rId30" action="ppaction://hlinksldjump"/>
            <a:extLst>
              <a:ext uri="{FF2B5EF4-FFF2-40B4-BE49-F238E27FC236}">
                <a16:creationId xmlns:a16="http://schemas.microsoft.com/office/drawing/2014/main" id="{674D204F-77B2-E861-2C83-B21D35FC205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16" name="矩形 15">
            <a:hlinkClick r:id="rId30" action="ppaction://hlinksldjump"/>
            <a:extLst>
              <a:ext uri="{FF2B5EF4-FFF2-40B4-BE49-F238E27FC236}">
                <a16:creationId xmlns:a16="http://schemas.microsoft.com/office/drawing/2014/main" id="{E1332E25-C514-D9AF-F495-ED594402D93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10850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cked Robots</a:t>
            </a:r>
          </a:p>
        </p:txBody>
      </p:sp>
      <p:sp>
        <p:nvSpPr>
          <p:cNvPr id="15" name="矩形 14">
            <a:hlinkClick r:id="rId30" action="ppaction://hlinksldjump"/>
            <a:extLst>
              <a:ext uri="{FF2B5EF4-FFF2-40B4-BE49-F238E27FC236}">
                <a16:creationId xmlns:a16="http://schemas.microsoft.com/office/drawing/2014/main" id="{31ADF4B8-D1EF-5178-9EB3-10047B2E724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4" name="矩形 13">
            <a:hlinkClick r:id="rId31" action="ppaction://hlinksldjump"/>
            <a:extLst>
              <a:ext uri="{FF2B5EF4-FFF2-40B4-BE49-F238E27FC236}">
                <a16:creationId xmlns:a16="http://schemas.microsoft.com/office/drawing/2014/main" id="{2F909A1C-6581-6302-6FFD-9B77F1E374A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</a:t>
            </a:r>
          </a:p>
        </p:txBody>
      </p:sp>
      <p:sp>
        <p:nvSpPr>
          <p:cNvPr id="13" name="矩形 12">
            <a:hlinkClick r:id="rId31" action="ppaction://hlinksldjump"/>
            <a:extLst>
              <a:ext uri="{FF2B5EF4-FFF2-40B4-BE49-F238E27FC236}">
                <a16:creationId xmlns:a16="http://schemas.microsoft.com/office/drawing/2014/main" id="{0277DEC2-7B1E-D130-326F-3887AEB8BA9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264489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heeled Robots</a:t>
            </a:r>
          </a:p>
        </p:txBody>
      </p:sp>
      <p:sp>
        <p:nvSpPr>
          <p:cNvPr id="12" name="矩形 11">
            <a:hlinkClick r:id="rId31" action="ppaction://hlinksldjump"/>
            <a:extLst>
              <a:ext uri="{FF2B5EF4-FFF2-40B4-BE49-F238E27FC236}">
                <a16:creationId xmlns:a16="http://schemas.microsoft.com/office/drawing/2014/main" id="{A1941AF3-8EE8-6C30-1987-CD39B9450F7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3DD46FD-A39D-FDC6-509D-6D93F97B862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0" name="矩形 9">
            <a:hlinkClick r:id="rId32" action="ppaction://hlinksldjump"/>
            <a:extLst>
              <a:ext uri="{FF2B5EF4-FFF2-40B4-BE49-F238E27FC236}">
                <a16:creationId xmlns:a16="http://schemas.microsoft.com/office/drawing/2014/main" id="{EB79E1E6-42C7-DC5F-BE60-1883A9E7C53E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9" name="矩形 8">
            <a:hlinkClick r:id="rId32" action="ppaction://hlinksldjump"/>
            <a:extLst>
              <a:ext uri="{FF2B5EF4-FFF2-40B4-BE49-F238E27FC236}">
                <a16:creationId xmlns:a16="http://schemas.microsoft.com/office/drawing/2014/main" id="{BDE0CD43-0624-E067-540B-3F07CEF51245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xed-base Robots</a:t>
            </a:r>
          </a:p>
        </p:txBody>
      </p:sp>
      <p:sp>
        <p:nvSpPr>
          <p:cNvPr id="8" name="矩形 7">
            <a:hlinkClick r:id="rId32" action="ppaction://hlinksldjump"/>
            <a:extLst>
              <a:ext uri="{FF2B5EF4-FFF2-40B4-BE49-F238E27FC236}">
                <a16:creationId xmlns:a16="http://schemas.microsoft.com/office/drawing/2014/main" id="{273F4C88-9C1B-A8BC-752E-8877034EECF0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矩形 6">
            <a:hlinkClick r:id="rId33" action="ppaction://hlinksldjump"/>
            <a:extLst>
              <a:ext uri="{FF2B5EF4-FFF2-40B4-BE49-F238E27FC236}">
                <a16:creationId xmlns:a16="http://schemas.microsoft.com/office/drawing/2014/main" id="{52F9EF01-7000-2B53-4D28-1359AE759FE1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6" name="矩形 5">
            <a:hlinkClick r:id="rId33" action="ppaction://hlinksldjump"/>
            <a:extLst>
              <a:ext uri="{FF2B5EF4-FFF2-40B4-BE49-F238E27FC236}">
                <a16:creationId xmlns:a16="http://schemas.microsoft.com/office/drawing/2014/main" id="{6A58ED86-1620-5B44-906F-1651EEBA2368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" name="矩形 4">
            <a:hlinkClick r:id="rId33" action="ppaction://hlinksldjump"/>
            <a:extLst>
              <a:ext uri="{FF2B5EF4-FFF2-40B4-BE49-F238E27FC236}">
                <a16:creationId xmlns:a16="http://schemas.microsoft.com/office/drawing/2014/main" id="{1482A645-1CCF-1D0C-7C8A-6D9E27090D2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FAEF0BC3-D6BC-DBD4-CA14-9922B9958936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Types of Robots</a:t>
            </a:r>
          </a:p>
        </p:txBody>
      </p:sp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E607194D-DF21-F7B0-CFDA-AA541050B894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4" imgW="473" imgH="476" progId="TCLayout.ActiveDocument.1">
                  <p:embed/>
                </p:oleObj>
              </mc:Choice>
              <mc:Fallback>
                <p:oleObj name="think-cell 幻灯片" r:id="rId34" imgW="473" imgH="476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07194D-DF21-F7B0-CFDA-AA541050B8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68737142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270558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62B809DF-86AF-E591-2860-B0B2C204EC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1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414940EC-FD5F-1440-80AC-C796A1FC7C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Action Planning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C2A4373F-5EA9-6C2B-BC11-044010DCD2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0A2669EA-A11C-0057-94CE-681957A3EB9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BFE7F770-49CE-E27E-19AF-4F70455DE9D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70003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VLM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AA35C83F-899D-BE03-DD4B-CC1A8195006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62AE75A8-31D7-9E32-E66F-24D143C5526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7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9E1F17A4-B380-8457-E9F1-8849077F05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visual information from embodied perception model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7F6C0D34-DA14-24F4-68F7-A04AB4960A0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F6786320-12E2-620A-798D-F4C94F96562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5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455E157E-6ED2-72DA-EFFE-9732A324BE7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357211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Emergent Capabilities of LLMs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4CEDDA7E-239D-B065-183E-282EE5C6E71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3" name="矩形 72">
            <a:hlinkClick r:id="rId33" action="ppaction://hlinksldjump"/>
            <a:extLst>
              <a:ext uri="{FF2B5EF4-FFF2-40B4-BE49-F238E27FC236}">
                <a16:creationId xmlns:a16="http://schemas.microsoft.com/office/drawing/2014/main" id="{6B3F55A8-97BD-71D5-B639-53866FD0C40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3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61CAC7DF-D93B-DAA1-B980-AEBB39771F7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10850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D6369E6F-17F4-7981-3302-1E95A1E042D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CF077269-419C-7975-4C1E-FDB279D74E2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A9C76484-F2FA-0364-D0D9-8AC21397E3D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1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334928EC-3E6A-2722-5D26-41393A7045C3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Task Plann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067F20C0-187A-27F3-DAEF-A77B9E98D12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07B0E974-ACBE-2952-F1DE-97890E304CB4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5C7556DE-90FF-F1C7-4496-C129E9D0523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Multimodal Foundation Model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D5A5ACBF-4150-81CF-2541-912E2461176A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9328AC60-FFD8-AB91-3433-0E4F394DC0CC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FFCF64A9-366F-2FD8-DA90-4F3B2FDB85E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15146ED4-0714-A9FE-992C-FFED116A0CD2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0D5FF586-12D0-20D0-0FFA-1382822CE5C8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xecutions of Ag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5140197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861221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FFF2C1CD-0C96-6D8B-8361-F5C82ABAD8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1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9A8038E7-4B19-F606-1143-624AB4FAA2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Action Planning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DDEAEC0F-61CB-0C30-BE49-5699047C48E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9978E2DE-698A-A20C-4555-803E266E183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DB795E5B-E6F9-7EAD-3267-25CF85D056D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70003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VLM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1E2DF400-4B06-DB94-16E1-92F0411C24B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8CF1391A-0FB9-1F4D-F587-3ABD05625F3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7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66BE4E67-B05F-8D78-B9CC-1E06858956C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visual information from embodied perception model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1B7730D5-659A-C625-12DF-E7CCB0A4DB0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04007B25-37A5-45B6-A05D-BFD3A4DEFCA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5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52E62D18-EA8C-FA93-9661-60EBE04FAD5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357211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Emergent Capabilities of LLMs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2E67EF2F-82E6-CDB5-34AB-79A5D4378EF8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737F77C9-F2C6-6E54-050D-AD9A9C22F51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441569" y="310850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1ACB0204-97C9-1769-A892-A42FAC3F209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3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214BF5EB-7E0C-09DA-E5D8-D506965F8FF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C001CA8E-1072-3F81-EF7C-5945944AA4A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BAAC8E22-BBA1-EFA4-ED53-84E28FE220F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1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C51657C0-81DA-2299-19F2-D74AFB9F9D1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Task Plann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72802406-9FFB-1B12-745C-60B3DC30254D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B8D0FC43-C39D-02F0-090E-01E1744B38A3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76DD204C-13A2-1E26-92F9-DC32656E939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Multimodal Foundation Model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9FC28EF1-18EB-DD05-37E9-5712EAE0AB47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6DEAA4E5-DDFB-2BFA-C6CE-65AF62CC5B42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31475A86-21E1-73A0-8EC0-AEFB2C0BE8BF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CE9ECF2B-8F26-0B9B-9DD7-93DDCF6204EF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D6AFD9D4-6309-49AA-DFCD-E77BEF579D95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xecutions of Ag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7431643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397811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B7695474-6F18-B70C-BBFB-85BF24850E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1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8CFF8483-A113-C18D-5F23-18ADFAFC68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Action Planning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317282CC-08AB-B116-7E8C-780154B9259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08E36E3E-1AB3-76A6-7E45-83C4C658F74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C1C25380-E816-94F7-5274-E3F7AECE852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70003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VLM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096199E9-C087-08A8-C315-AD77034A531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F608C24C-EF72-5014-7FDF-3A23207FDA9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7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9975978C-9A70-6EA0-4E20-618767BDE84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visual information from embodied perception model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4C46955A-9CB4-896E-286F-150806704E5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620B3CFF-E45A-5FD7-8866-2C06BF389E0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41569" y="357211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92A51164-9B6A-C882-9E44-AB11AD90281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5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02082D2D-F6A8-1C29-6EA3-8BC9FDA7F05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Emergent Capabilities of LLMs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C71DF2A2-B581-5986-667C-219C0AD300B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E3BE57B0-E79D-47DE-C71E-D8B901D0B92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3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F04C5099-1D0E-3CEF-8A15-D729ADA72A7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B23ADB36-42AF-B4C6-0976-123621358E0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F9EA58D2-0476-FC84-D259-89CB76B6245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1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C46F8093-5336-35B2-4065-03212A7F36F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Task Plann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948D7724-E15A-72F0-B8CD-F17606C5535D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41A62811-D933-26EB-E31C-4C77A6545773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B78D5FA7-A881-35EA-55A6-8083A9AA5B7B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Multimodal Foundation Model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E1FF084D-E053-C5BF-5F09-0311ED6E5DD7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38BB47A9-72EB-E2AB-2739-6D6FD57E8088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0E6DE4B5-90A8-5EAA-3BE2-8272D1A0615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0440027E-207E-EB37-4C3D-02F927286855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CA2FE932-F491-2780-4824-9AE5A86AD774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xecutions of Ag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443504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607684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789F27E9-D7AE-A340-C34F-1DAE68E9E4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1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EE6E33F5-3B84-A4AB-4C56-BDCD377015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Action Planning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4597662C-0D51-2AC7-4474-5122E4FD023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06FCC618-D86D-F3DA-7112-98956A347FA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569ECC94-92A2-6FDB-E2F5-80747D7BF10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70003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VLM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1145D84D-41EE-A72E-BA87-0A337541E9D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254330A0-4308-297B-C270-FC5DFC83833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441569" y="403572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10D67A6B-25BC-E351-EF5C-45F191E2DDF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7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6604FE46-72C2-537B-376E-92383268AEE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03572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visual information from embodied perception model</a:t>
            </a:r>
          </a:p>
        </p:txBody>
      </p:sp>
      <p:sp>
        <p:nvSpPr>
          <p:cNvPr id="76" name="矩形 75">
            <a:hlinkClick r:id="rId31" action="ppaction://hlinksldjump"/>
            <a:extLst>
              <a:ext uri="{FF2B5EF4-FFF2-40B4-BE49-F238E27FC236}">
                <a16:creationId xmlns:a16="http://schemas.microsoft.com/office/drawing/2014/main" id="{2BB2FB0B-A596-790D-3665-A5F7C2FA158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6209BD80-975A-00E1-FE0F-33E11B8DA97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5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D779C183-74A6-FD1C-F20C-C2BA43D2441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Emergent Capabilities of LLMs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5E9A0CBC-C62C-D5AA-0DFB-F6C9664D14A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0881704C-446D-C596-1C34-C68F22C7C25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3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2F8DB2C7-FFDB-A6C6-7DD8-FF0BFE8FCA7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C985E8CC-B64D-D771-6B24-5AAB2616390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66C0E497-0620-C9F6-F078-A36ABE6D492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1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C64F3E66-B6A2-0C35-B73F-2656F54D523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Task Plann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8E5AE5F5-CD65-D79E-99A0-58112E94049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E7413427-7600-5F24-4432-3C25E4C2217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9632F0CB-35BC-CA1B-3FEC-AC0FB1051163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Multimodal Foundation Model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D5209D31-1E4F-729D-A679-6967CB2D850B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625F18AF-92D1-B133-25F3-8799FE4CFA1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0FFE90F7-CD9A-96EE-F4C9-184E9BD960A0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0F2D8FC8-CB20-C96F-748D-01016D28171E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6550DBA1-41A1-6044-D125-4F1269C82BF4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xecutions of Ag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7425294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691157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8744392C-C494-84FE-9114-824E996344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1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DF2EB73A-2697-5053-DD9B-0BDF328852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Action Planning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F8C52525-8439-896F-3191-90C3890DFC1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68316115-01B0-E0E0-466A-BE63F13826A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41569" y="4499335"/>
            <a:ext cx="1023369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6A28C4EB-FB06-1CAD-86F4-2A91CBE4E2C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9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B1F0811F-471E-F0E7-D7AE-72FD1128BC8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41569" y="4499335"/>
            <a:ext cx="70003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VLMs</a:t>
            </a:r>
          </a:p>
        </p:txBody>
      </p:sp>
      <p:sp>
        <p:nvSpPr>
          <p:cNvPr id="79" name="矩形 78">
            <a:hlinkClick r:id="rId30" action="ppaction://hlinksldjump"/>
            <a:extLst>
              <a:ext uri="{FF2B5EF4-FFF2-40B4-BE49-F238E27FC236}">
                <a16:creationId xmlns:a16="http://schemas.microsoft.com/office/drawing/2014/main" id="{B731B890-3A7C-E684-F839-26E0018F91D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6C6CF8D3-94D7-2BAE-375C-5E2096CB19C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7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19A5055A-2F8D-F494-EA8A-4E1CF153482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03572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visual information from embodied perception model</a:t>
            </a:r>
          </a:p>
        </p:txBody>
      </p:sp>
      <p:sp>
        <p:nvSpPr>
          <p:cNvPr id="76" name="矩形 75">
            <a:hlinkClick r:id="rId31" action="ppaction://hlinksldjump"/>
            <a:extLst>
              <a:ext uri="{FF2B5EF4-FFF2-40B4-BE49-F238E27FC236}">
                <a16:creationId xmlns:a16="http://schemas.microsoft.com/office/drawing/2014/main" id="{9C3F7015-841A-9A4D-4D12-2BEBFD6DFE7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657EBA9F-1277-9124-F60F-4F7B4CDE0A2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5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883078D5-50DB-18C1-41DE-016F5DF25AF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lanning utilizing the Emergent Capabilities of LLMs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29456B78-2931-3B46-115D-18DDB1A8CAC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ADA6B145-3A55-1C4C-E208-92F3744D900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3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09EA04B8-C6F0-A727-DDBC-4F7FD86FD57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41557022-4CF5-478B-1B79-89612FAF546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2EF2F277-2F15-674F-A72E-1E9EA0B5F97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1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52807164-A76A-89A8-DBEE-AB81F359DD03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Task Plann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C57726E7-1F37-E185-BCD6-BD1787843D0F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C174EE28-D222-FFD9-2A2E-49D25E000769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00A23021-F38C-6803-5B9E-F2054BEAC942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Multimodal Foundation Model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67710C3A-CDFB-9B4A-9251-7C3D179B49AA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885FF675-470D-EF59-AB0D-D27FFF2C654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AE327535-826D-6AC1-4E3D-47AC7EC68ACE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7E8F0D51-778B-C78B-F17D-9217E43F7F86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3A2F79F3-49FE-2AC2-3DE3-D55CDE7F698D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Executions of Ag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89701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9741E7-BFED-DED7-90B3-EB498C3BFF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741E7-BFED-DED7-90B3-EB498C3BF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zh-CN" sz="4400" b="1">
                <a:solidFill>
                  <a:schemeClr val="tx1"/>
                </a:solidFill>
              </a:rPr>
              <a:t>Fixed-base Robots</a:t>
            </a:r>
            <a:endParaRPr lang="en-US" altLang="zh-CN" sz="4400" b="1" dirty="0">
              <a:solidFill>
                <a:schemeClr val="tx1"/>
              </a:solidFill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3376" y="1825625"/>
            <a:ext cx="7830423" cy="435133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优点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1600" dirty="0"/>
              <a:t>固定式机器人因其紧凑性和高精度操作，被广泛应用于实验室自动化、教育培训和工业制造。 这些机器人拥有坚固的底座和结构，确保在操作过程中稳定性和高精度。 它们配备高精度传感器和执行器，可实现微米级的精度，使其适用于需要高精度和重复性的任务。 此外，固定式机器人高度可编程，允许用户将其适应各种任务场景</a:t>
            </a:r>
            <a:endParaRPr lang="en-US" altLang="zh-CN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缺点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1600" dirty="0"/>
              <a:t>它们的固定式设计限制了其操作范围和灵活性，使其无法在较大区域内移动或调整位置，从而影响其与人类和其他机器人的协作</a:t>
            </a:r>
            <a:endParaRPr lang="en-US" altLang="zh-CN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品牌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zh-CN" sz="1600" dirty="0" err="1"/>
              <a:t>Franka</a:t>
            </a:r>
            <a:r>
              <a:rPr lang="en-US" altLang="zh-CN" sz="1600" dirty="0"/>
              <a:t> (</a:t>
            </a:r>
            <a:r>
              <a:rPr lang="en-US" altLang="zh-CN" sz="1600" dirty="0" err="1"/>
              <a:t>Franka</a:t>
            </a:r>
            <a:r>
              <a:rPr lang="en-US" altLang="zh-CN" sz="1600" dirty="0"/>
              <a:t> </a:t>
            </a:r>
            <a:r>
              <a:rPr lang="en-US" altLang="zh-CN" sz="1600" dirty="0" err="1"/>
              <a:t>Emika</a:t>
            </a:r>
            <a:r>
              <a:rPr lang="en-US" altLang="zh-CN" sz="1600" dirty="0"/>
              <a:t> panda)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Kuka </a:t>
            </a:r>
            <a:r>
              <a:rPr lang="en-US" sz="1600" dirty="0" err="1"/>
              <a:t>iiwa</a:t>
            </a:r>
            <a:r>
              <a:rPr lang="en-US" sz="1600" dirty="0"/>
              <a:t> (KUKA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Sawyer (Rethink Robotics)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A5674F2-9D98-4F1F-DB83-3CAF14BFD2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690688"/>
            <a:ext cx="2584508" cy="4535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698985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211898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hlinkClick r:id="rId26" action="ppaction://hlinksldjump"/>
            <a:extLst>
              <a:ext uri="{FF2B5EF4-FFF2-40B4-BE49-F238E27FC236}">
                <a16:creationId xmlns:a16="http://schemas.microsoft.com/office/drawing/2014/main" id="{C1589432-F76B-8EF8-AD16-08600A682CB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7</a:t>
            </a:r>
          </a:p>
        </p:txBody>
      </p:sp>
      <p:sp>
        <p:nvSpPr>
          <p:cNvPr id="75" name="矩形 74">
            <a:hlinkClick r:id="rId26" action="ppaction://hlinksldjump"/>
            <a:extLst>
              <a:ext uri="{FF2B5EF4-FFF2-40B4-BE49-F238E27FC236}">
                <a16:creationId xmlns:a16="http://schemas.microsoft.com/office/drawing/2014/main" id="{05EA9295-66D6-F4D2-85A0-DF368A8DB2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4499335"/>
            <a:ext cx="70003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on utilizing VLA model</a:t>
            </a:r>
          </a:p>
        </p:txBody>
      </p:sp>
      <p:sp>
        <p:nvSpPr>
          <p:cNvPr id="74" name="矩形 73">
            <a:hlinkClick r:id="rId26" action="ppaction://hlinksldjump"/>
            <a:extLst>
              <a:ext uri="{FF2B5EF4-FFF2-40B4-BE49-F238E27FC236}">
                <a16:creationId xmlns:a16="http://schemas.microsoft.com/office/drawing/2014/main" id="{8EEA740D-E59B-59D6-1008-BA809EA1072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73" name="矩形 72">
            <a:hlinkClick r:id="rId27" action="ppaction://hlinksldjump"/>
            <a:extLst>
              <a:ext uri="{FF2B5EF4-FFF2-40B4-BE49-F238E27FC236}">
                <a16:creationId xmlns:a16="http://schemas.microsoft.com/office/drawing/2014/main" id="{C68AF283-CBBB-902E-E843-64D7AF4D9E2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5</a:t>
            </a:r>
          </a:p>
        </p:txBody>
      </p:sp>
      <p:sp>
        <p:nvSpPr>
          <p:cNvPr id="72" name="矩形 71">
            <a:hlinkClick r:id="rId27" action="ppaction://hlinksldjump"/>
            <a:extLst>
              <a:ext uri="{FF2B5EF4-FFF2-40B4-BE49-F238E27FC236}">
                <a16:creationId xmlns:a16="http://schemas.microsoft.com/office/drawing/2014/main" id="{0DC5469E-82A9-68EB-5EEA-70EE541A9D2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03572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on utilizing APIs</a:t>
            </a:r>
          </a:p>
        </p:txBody>
      </p:sp>
      <p:sp>
        <p:nvSpPr>
          <p:cNvPr id="71" name="矩形 70">
            <a:hlinkClick r:id="rId27" action="ppaction://hlinksldjump"/>
            <a:extLst>
              <a:ext uri="{FF2B5EF4-FFF2-40B4-BE49-F238E27FC236}">
                <a16:creationId xmlns:a16="http://schemas.microsoft.com/office/drawing/2014/main" id="{789E5D46-1559-25FF-140B-1336F2F1E88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70" name="矩形 69">
            <a:hlinkClick r:id="rId28" action="ppaction://hlinksldjump"/>
            <a:extLst>
              <a:ext uri="{FF2B5EF4-FFF2-40B4-BE49-F238E27FC236}">
                <a16:creationId xmlns:a16="http://schemas.microsoft.com/office/drawing/2014/main" id="{D6ABEF5F-60BE-0D21-D145-04F1C7D2641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3</a:t>
            </a:r>
          </a:p>
        </p:txBody>
      </p:sp>
      <p:sp>
        <p:nvSpPr>
          <p:cNvPr id="69" name="矩形 68">
            <a:hlinkClick r:id="rId28" action="ppaction://hlinksldjump"/>
            <a:extLst>
              <a:ext uri="{FF2B5EF4-FFF2-40B4-BE49-F238E27FC236}">
                <a16:creationId xmlns:a16="http://schemas.microsoft.com/office/drawing/2014/main" id="{06EBF4B8-607D-F936-B723-C63BB7D69AD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357211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8" name="矩形 67">
            <a:hlinkClick r:id="rId28" action="ppaction://hlinksldjump"/>
            <a:extLst>
              <a:ext uri="{FF2B5EF4-FFF2-40B4-BE49-F238E27FC236}">
                <a16:creationId xmlns:a16="http://schemas.microsoft.com/office/drawing/2014/main" id="{D1741FC0-287C-9800-5D01-68565E08578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4435A5AB-DD93-113B-97FA-616ABFC9FF4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6" name="矩形 65">
            <a:hlinkClick r:id="rId29" action="ppaction://hlinksldjump"/>
            <a:extLst>
              <a:ext uri="{FF2B5EF4-FFF2-40B4-BE49-F238E27FC236}">
                <a16:creationId xmlns:a16="http://schemas.microsoft.com/office/drawing/2014/main" id="{C5AAA2AA-A600-A0AF-6B65-D5C85AD1404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1</a:t>
            </a:r>
          </a:p>
        </p:txBody>
      </p:sp>
      <p:sp>
        <p:nvSpPr>
          <p:cNvPr id="65" name="矩形 64">
            <a:hlinkClick r:id="rId29" action="ppaction://hlinksldjump"/>
            <a:extLst>
              <a:ext uri="{FF2B5EF4-FFF2-40B4-BE49-F238E27FC236}">
                <a16:creationId xmlns:a16="http://schemas.microsoft.com/office/drawing/2014/main" id="{E8D4C320-346A-F44C-C0EF-695E0F34275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Action Planning</a:t>
            </a:r>
          </a:p>
        </p:txBody>
      </p:sp>
      <p:sp>
        <p:nvSpPr>
          <p:cNvPr id="64" name="矩形 63">
            <a:hlinkClick r:id="rId29" action="ppaction://hlinksldjump"/>
            <a:extLst>
              <a:ext uri="{FF2B5EF4-FFF2-40B4-BE49-F238E27FC236}">
                <a16:creationId xmlns:a16="http://schemas.microsoft.com/office/drawing/2014/main" id="{3DE4C792-9C18-D0DC-858F-D735142C521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3" name="矩形 62">
            <a:hlinkClick r:id="rId30" action="ppaction://hlinksldjump"/>
            <a:extLst>
              <a:ext uri="{FF2B5EF4-FFF2-40B4-BE49-F238E27FC236}">
                <a16:creationId xmlns:a16="http://schemas.microsoft.com/office/drawing/2014/main" id="{2906862E-52D0-7218-3B09-F2BC4667498F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1</a:t>
            </a:r>
          </a:p>
        </p:txBody>
      </p:sp>
      <p:sp>
        <p:nvSpPr>
          <p:cNvPr id="62" name="矩形 61">
            <a:hlinkClick r:id="rId30" action="ppaction://hlinksldjump"/>
            <a:extLst>
              <a:ext uri="{FF2B5EF4-FFF2-40B4-BE49-F238E27FC236}">
                <a16:creationId xmlns:a16="http://schemas.microsoft.com/office/drawing/2014/main" id="{A49B0502-ECA6-B13C-4B47-E97026B2D16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Task Planning</a:t>
            </a:r>
          </a:p>
        </p:txBody>
      </p:sp>
      <p:sp>
        <p:nvSpPr>
          <p:cNvPr id="61" name="矩形 60">
            <a:hlinkClick r:id="rId30" action="ppaction://hlinksldjump"/>
            <a:extLst>
              <a:ext uri="{FF2B5EF4-FFF2-40B4-BE49-F238E27FC236}">
                <a16:creationId xmlns:a16="http://schemas.microsoft.com/office/drawing/2014/main" id="{88FF6606-3237-F9F5-0F8D-808B29378BD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矩形 59">
            <a:hlinkClick r:id="rId31" action="ppaction://hlinksldjump"/>
            <a:extLst>
              <a:ext uri="{FF2B5EF4-FFF2-40B4-BE49-F238E27FC236}">
                <a16:creationId xmlns:a16="http://schemas.microsoft.com/office/drawing/2014/main" id="{25F78FF6-7994-F73F-E464-C546D17FE504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9</a:t>
            </a:r>
          </a:p>
        </p:txBody>
      </p:sp>
      <p:sp>
        <p:nvSpPr>
          <p:cNvPr id="59" name="矩形 58">
            <a:hlinkClick r:id="rId31" action="ppaction://hlinksldjump"/>
            <a:extLst>
              <a:ext uri="{FF2B5EF4-FFF2-40B4-BE49-F238E27FC236}">
                <a16:creationId xmlns:a16="http://schemas.microsoft.com/office/drawing/2014/main" id="{38C72049-7C55-3092-C5A0-0377F2B0944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Multimodal Foundation Model</a:t>
            </a:r>
          </a:p>
        </p:txBody>
      </p:sp>
      <p:sp>
        <p:nvSpPr>
          <p:cNvPr id="58" name="矩形 57">
            <a:hlinkClick r:id="rId31" action="ppaction://hlinksldjump"/>
            <a:extLst>
              <a:ext uri="{FF2B5EF4-FFF2-40B4-BE49-F238E27FC236}">
                <a16:creationId xmlns:a16="http://schemas.microsoft.com/office/drawing/2014/main" id="{1D2BC105-4708-2D98-6696-E3BAC06654A5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32" action="ppaction://hlinksldjump"/>
            <a:extLst>
              <a:ext uri="{FF2B5EF4-FFF2-40B4-BE49-F238E27FC236}">
                <a16:creationId xmlns:a16="http://schemas.microsoft.com/office/drawing/2014/main" id="{AF8FBBB5-4BDC-D1C9-DFCC-7654828A3B3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7</a:t>
            </a:r>
          </a:p>
        </p:txBody>
      </p:sp>
      <p:sp>
        <p:nvSpPr>
          <p:cNvPr id="56" name="矩形 55">
            <a:hlinkClick r:id="rId32" action="ppaction://hlinksldjump"/>
            <a:extLst>
              <a:ext uri="{FF2B5EF4-FFF2-40B4-BE49-F238E27FC236}">
                <a16:creationId xmlns:a16="http://schemas.microsoft.com/office/drawing/2014/main" id="{4B0229E8-DBF1-5F36-2F14-8ADEBCE2B128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5" name="矩形 54">
            <a:hlinkClick r:id="rId32" action="ppaction://hlinksldjump"/>
            <a:extLst>
              <a:ext uri="{FF2B5EF4-FFF2-40B4-BE49-F238E27FC236}">
                <a16:creationId xmlns:a16="http://schemas.microsoft.com/office/drawing/2014/main" id="{FD44CDD8-DBC1-45DB-99A7-F684962CA4EF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0D05BF20-814D-5D81-2C31-27EEDC314DB5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Executions of Ag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1358083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7702040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hlinkClick r:id="rId26" action="ppaction://hlinksldjump"/>
            <a:extLst>
              <a:ext uri="{FF2B5EF4-FFF2-40B4-BE49-F238E27FC236}">
                <a16:creationId xmlns:a16="http://schemas.microsoft.com/office/drawing/2014/main" id="{BDBF8D9C-B05D-7E72-1764-D35CF755F0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7</a:t>
            </a:r>
          </a:p>
        </p:txBody>
      </p:sp>
      <p:sp>
        <p:nvSpPr>
          <p:cNvPr id="75" name="矩形 74">
            <a:hlinkClick r:id="rId26" action="ppaction://hlinksldjump"/>
            <a:extLst>
              <a:ext uri="{FF2B5EF4-FFF2-40B4-BE49-F238E27FC236}">
                <a16:creationId xmlns:a16="http://schemas.microsoft.com/office/drawing/2014/main" id="{87930A77-69F2-BD55-9944-FBF8BC9A05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4499335"/>
            <a:ext cx="70003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on utilizing VLA model</a:t>
            </a:r>
          </a:p>
        </p:txBody>
      </p:sp>
      <p:sp>
        <p:nvSpPr>
          <p:cNvPr id="74" name="矩形 73">
            <a:hlinkClick r:id="rId26" action="ppaction://hlinksldjump"/>
            <a:extLst>
              <a:ext uri="{FF2B5EF4-FFF2-40B4-BE49-F238E27FC236}">
                <a16:creationId xmlns:a16="http://schemas.microsoft.com/office/drawing/2014/main" id="{A7195955-C443-B66F-E2FB-2BC3105B8C9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73" name="矩形 72">
            <a:hlinkClick r:id="rId27" action="ppaction://hlinksldjump"/>
            <a:extLst>
              <a:ext uri="{FF2B5EF4-FFF2-40B4-BE49-F238E27FC236}">
                <a16:creationId xmlns:a16="http://schemas.microsoft.com/office/drawing/2014/main" id="{8DC0EDCF-8119-43E4-AACE-C9CF60FE89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5</a:t>
            </a:r>
          </a:p>
        </p:txBody>
      </p:sp>
      <p:sp>
        <p:nvSpPr>
          <p:cNvPr id="72" name="矩形 71">
            <a:hlinkClick r:id="rId27" action="ppaction://hlinksldjump"/>
            <a:extLst>
              <a:ext uri="{FF2B5EF4-FFF2-40B4-BE49-F238E27FC236}">
                <a16:creationId xmlns:a16="http://schemas.microsoft.com/office/drawing/2014/main" id="{3DE81F9A-F79E-8055-1557-2D0B041D680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03572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on utilizing APIs</a:t>
            </a:r>
          </a:p>
        </p:txBody>
      </p:sp>
      <p:sp>
        <p:nvSpPr>
          <p:cNvPr id="71" name="矩形 70">
            <a:hlinkClick r:id="rId27" action="ppaction://hlinksldjump"/>
            <a:extLst>
              <a:ext uri="{FF2B5EF4-FFF2-40B4-BE49-F238E27FC236}">
                <a16:creationId xmlns:a16="http://schemas.microsoft.com/office/drawing/2014/main" id="{318082E1-E482-1BBA-C5E9-80D65E1FA97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A1531E5D-9C01-E4FD-1FBC-007ACEDD891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441569" y="357211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9" name="矩形 68">
            <a:hlinkClick r:id="rId28" action="ppaction://hlinksldjump"/>
            <a:extLst>
              <a:ext uri="{FF2B5EF4-FFF2-40B4-BE49-F238E27FC236}">
                <a16:creationId xmlns:a16="http://schemas.microsoft.com/office/drawing/2014/main" id="{3BA956A4-C295-97CA-0EC4-72D94C1F198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3</a:t>
            </a:r>
          </a:p>
        </p:txBody>
      </p:sp>
      <p:sp>
        <p:nvSpPr>
          <p:cNvPr id="68" name="矩形 67">
            <a:hlinkClick r:id="rId28" action="ppaction://hlinksldjump"/>
            <a:extLst>
              <a:ext uri="{FF2B5EF4-FFF2-40B4-BE49-F238E27FC236}">
                <a16:creationId xmlns:a16="http://schemas.microsoft.com/office/drawing/2014/main" id="{9459B6B1-8E55-7EDF-00B6-AFC84F6FAC6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357211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28" action="ppaction://hlinksldjump"/>
            <a:extLst>
              <a:ext uri="{FF2B5EF4-FFF2-40B4-BE49-F238E27FC236}">
                <a16:creationId xmlns:a16="http://schemas.microsoft.com/office/drawing/2014/main" id="{C85151CB-167A-AAEA-AB68-3D5D2A30F96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66" name="矩形 65">
            <a:hlinkClick r:id="rId29" action="ppaction://hlinksldjump"/>
            <a:extLst>
              <a:ext uri="{FF2B5EF4-FFF2-40B4-BE49-F238E27FC236}">
                <a16:creationId xmlns:a16="http://schemas.microsoft.com/office/drawing/2014/main" id="{A2E5ADF2-C76B-5AA4-3AF3-5FE2E68EF8D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1</a:t>
            </a:r>
          </a:p>
        </p:txBody>
      </p:sp>
      <p:sp>
        <p:nvSpPr>
          <p:cNvPr id="65" name="矩形 64">
            <a:hlinkClick r:id="rId29" action="ppaction://hlinksldjump"/>
            <a:extLst>
              <a:ext uri="{FF2B5EF4-FFF2-40B4-BE49-F238E27FC236}">
                <a16:creationId xmlns:a16="http://schemas.microsoft.com/office/drawing/2014/main" id="{DDDF3EA3-FAAB-D42B-EC65-59D5F919079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Action Planning</a:t>
            </a:r>
          </a:p>
        </p:txBody>
      </p:sp>
      <p:sp>
        <p:nvSpPr>
          <p:cNvPr id="64" name="矩形 63">
            <a:hlinkClick r:id="rId29" action="ppaction://hlinksldjump"/>
            <a:extLst>
              <a:ext uri="{FF2B5EF4-FFF2-40B4-BE49-F238E27FC236}">
                <a16:creationId xmlns:a16="http://schemas.microsoft.com/office/drawing/2014/main" id="{E6657B14-170E-D747-28D2-4353EDCE0FE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3" name="矩形 62">
            <a:hlinkClick r:id="rId30" action="ppaction://hlinksldjump"/>
            <a:extLst>
              <a:ext uri="{FF2B5EF4-FFF2-40B4-BE49-F238E27FC236}">
                <a16:creationId xmlns:a16="http://schemas.microsoft.com/office/drawing/2014/main" id="{B0BADB39-DA2E-6AE9-EA7C-BB1EB5C1B8A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1</a:t>
            </a:r>
          </a:p>
        </p:txBody>
      </p:sp>
      <p:sp>
        <p:nvSpPr>
          <p:cNvPr id="62" name="矩形 61">
            <a:hlinkClick r:id="rId30" action="ppaction://hlinksldjump"/>
            <a:extLst>
              <a:ext uri="{FF2B5EF4-FFF2-40B4-BE49-F238E27FC236}">
                <a16:creationId xmlns:a16="http://schemas.microsoft.com/office/drawing/2014/main" id="{3F4926FA-AFE3-5531-D372-A267BFF1E1E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Task Planning</a:t>
            </a:r>
          </a:p>
        </p:txBody>
      </p:sp>
      <p:sp>
        <p:nvSpPr>
          <p:cNvPr id="61" name="矩形 60">
            <a:hlinkClick r:id="rId30" action="ppaction://hlinksldjump"/>
            <a:extLst>
              <a:ext uri="{FF2B5EF4-FFF2-40B4-BE49-F238E27FC236}">
                <a16:creationId xmlns:a16="http://schemas.microsoft.com/office/drawing/2014/main" id="{7E6AF01F-5482-C349-FEB3-FF4DF2EE73E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矩形 59">
            <a:hlinkClick r:id="rId31" action="ppaction://hlinksldjump"/>
            <a:extLst>
              <a:ext uri="{FF2B5EF4-FFF2-40B4-BE49-F238E27FC236}">
                <a16:creationId xmlns:a16="http://schemas.microsoft.com/office/drawing/2014/main" id="{CE70898C-A392-98FD-F91B-6CE1271B6CB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9</a:t>
            </a:r>
          </a:p>
        </p:txBody>
      </p:sp>
      <p:sp>
        <p:nvSpPr>
          <p:cNvPr id="59" name="矩形 58">
            <a:hlinkClick r:id="rId31" action="ppaction://hlinksldjump"/>
            <a:extLst>
              <a:ext uri="{FF2B5EF4-FFF2-40B4-BE49-F238E27FC236}">
                <a16:creationId xmlns:a16="http://schemas.microsoft.com/office/drawing/2014/main" id="{4E415E69-38AB-F306-1F8A-5A1D5E408115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Multimodal Foundation Model</a:t>
            </a:r>
          </a:p>
        </p:txBody>
      </p:sp>
      <p:sp>
        <p:nvSpPr>
          <p:cNvPr id="58" name="矩形 57">
            <a:hlinkClick r:id="rId31" action="ppaction://hlinksldjump"/>
            <a:extLst>
              <a:ext uri="{FF2B5EF4-FFF2-40B4-BE49-F238E27FC236}">
                <a16:creationId xmlns:a16="http://schemas.microsoft.com/office/drawing/2014/main" id="{37E599A2-71C1-2814-CB94-E3CFDD96168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32" action="ppaction://hlinksldjump"/>
            <a:extLst>
              <a:ext uri="{FF2B5EF4-FFF2-40B4-BE49-F238E27FC236}">
                <a16:creationId xmlns:a16="http://schemas.microsoft.com/office/drawing/2014/main" id="{01A1A636-165C-B795-B702-19DE4F41CB9E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7</a:t>
            </a:r>
          </a:p>
        </p:txBody>
      </p:sp>
      <p:sp>
        <p:nvSpPr>
          <p:cNvPr id="56" name="矩形 55">
            <a:hlinkClick r:id="rId32" action="ppaction://hlinksldjump"/>
            <a:extLst>
              <a:ext uri="{FF2B5EF4-FFF2-40B4-BE49-F238E27FC236}">
                <a16:creationId xmlns:a16="http://schemas.microsoft.com/office/drawing/2014/main" id="{78F3C31E-3166-BDA3-494A-8EE9A0C646B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5" name="矩形 54">
            <a:hlinkClick r:id="rId32" action="ppaction://hlinksldjump"/>
            <a:extLst>
              <a:ext uri="{FF2B5EF4-FFF2-40B4-BE49-F238E27FC236}">
                <a16:creationId xmlns:a16="http://schemas.microsoft.com/office/drawing/2014/main" id="{69378384-904A-0020-D12A-BFA12879D22A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52758BCC-CFD8-B2DD-2245-1573918E830E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Executions of Ag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6929046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939597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hlinkClick r:id="rId26" action="ppaction://hlinksldjump"/>
            <a:extLst>
              <a:ext uri="{FF2B5EF4-FFF2-40B4-BE49-F238E27FC236}">
                <a16:creationId xmlns:a16="http://schemas.microsoft.com/office/drawing/2014/main" id="{EBBC6781-F40B-9110-C237-2EB6947719D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7</a:t>
            </a:r>
          </a:p>
        </p:txBody>
      </p:sp>
      <p:sp>
        <p:nvSpPr>
          <p:cNvPr id="75" name="矩形 74">
            <a:hlinkClick r:id="rId26" action="ppaction://hlinksldjump"/>
            <a:extLst>
              <a:ext uri="{FF2B5EF4-FFF2-40B4-BE49-F238E27FC236}">
                <a16:creationId xmlns:a16="http://schemas.microsoft.com/office/drawing/2014/main" id="{36DD4888-0EF1-260A-FB2D-E37AFCFB34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4499335"/>
            <a:ext cx="70003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on utilizing VLA model</a:t>
            </a:r>
          </a:p>
        </p:txBody>
      </p:sp>
      <p:sp>
        <p:nvSpPr>
          <p:cNvPr id="74" name="矩形 73">
            <a:hlinkClick r:id="rId26" action="ppaction://hlinksldjump"/>
            <a:extLst>
              <a:ext uri="{FF2B5EF4-FFF2-40B4-BE49-F238E27FC236}">
                <a16:creationId xmlns:a16="http://schemas.microsoft.com/office/drawing/2014/main" id="{7ED07F87-5FFA-7F07-62DA-2FB2E1395DD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31E78640-AAA5-A4F7-E176-09C0FF08C38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41569" y="403572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2" name="矩形 71">
            <a:hlinkClick r:id="rId27" action="ppaction://hlinksldjump"/>
            <a:extLst>
              <a:ext uri="{FF2B5EF4-FFF2-40B4-BE49-F238E27FC236}">
                <a16:creationId xmlns:a16="http://schemas.microsoft.com/office/drawing/2014/main" id="{B5CAE9AE-09A7-C147-F58D-19DC9B33D6F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5</a:t>
            </a:r>
          </a:p>
        </p:txBody>
      </p:sp>
      <p:sp>
        <p:nvSpPr>
          <p:cNvPr id="71" name="矩形 70">
            <a:hlinkClick r:id="rId27" action="ppaction://hlinksldjump"/>
            <a:extLst>
              <a:ext uri="{FF2B5EF4-FFF2-40B4-BE49-F238E27FC236}">
                <a16:creationId xmlns:a16="http://schemas.microsoft.com/office/drawing/2014/main" id="{48E1DFA3-A629-462C-A76A-EFE3FC02CE4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41569" y="403572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on utilizing APIs</a:t>
            </a:r>
          </a:p>
        </p:txBody>
      </p:sp>
      <p:sp>
        <p:nvSpPr>
          <p:cNvPr id="70" name="矩形 69">
            <a:hlinkClick r:id="rId27" action="ppaction://hlinksldjump"/>
            <a:extLst>
              <a:ext uri="{FF2B5EF4-FFF2-40B4-BE49-F238E27FC236}">
                <a16:creationId xmlns:a16="http://schemas.microsoft.com/office/drawing/2014/main" id="{E718DA9A-8827-638F-795B-9B585A93521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69" name="矩形 68">
            <a:hlinkClick r:id="rId28" action="ppaction://hlinksldjump"/>
            <a:extLst>
              <a:ext uri="{FF2B5EF4-FFF2-40B4-BE49-F238E27FC236}">
                <a16:creationId xmlns:a16="http://schemas.microsoft.com/office/drawing/2014/main" id="{3D605FF1-3BED-1AC0-7F4D-3A99DE07164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3</a:t>
            </a:r>
          </a:p>
        </p:txBody>
      </p:sp>
      <p:sp>
        <p:nvSpPr>
          <p:cNvPr id="68" name="矩形 67">
            <a:hlinkClick r:id="rId28" action="ppaction://hlinksldjump"/>
            <a:extLst>
              <a:ext uri="{FF2B5EF4-FFF2-40B4-BE49-F238E27FC236}">
                <a16:creationId xmlns:a16="http://schemas.microsoft.com/office/drawing/2014/main" id="{6CAD714C-1586-4440-3ABD-208105AD1B3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357211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28" action="ppaction://hlinksldjump"/>
            <a:extLst>
              <a:ext uri="{FF2B5EF4-FFF2-40B4-BE49-F238E27FC236}">
                <a16:creationId xmlns:a16="http://schemas.microsoft.com/office/drawing/2014/main" id="{24A86D38-6010-8227-6866-C16E8BCDCAE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66" name="矩形 65">
            <a:hlinkClick r:id="rId29" action="ppaction://hlinksldjump"/>
            <a:extLst>
              <a:ext uri="{FF2B5EF4-FFF2-40B4-BE49-F238E27FC236}">
                <a16:creationId xmlns:a16="http://schemas.microsoft.com/office/drawing/2014/main" id="{132729E6-CED8-6ED8-7FFF-D19E80FEF51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1</a:t>
            </a:r>
          </a:p>
        </p:txBody>
      </p:sp>
      <p:sp>
        <p:nvSpPr>
          <p:cNvPr id="65" name="矩形 64">
            <a:hlinkClick r:id="rId29" action="ppaction://hlinksldjump"/>
            <a:extLst>
              <a:ext uri="{FF2B5EF4-FFF2-40B4-BE49-F238E27FC236}">
                <a16:creationId xmlns:a16="http://schemas.microsoft.com/office/drawing/2014/main" id="{1BA4ACBF-67CC-00C1-B448-0DD52F1BABE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Action Planning</a:t>
            </a:r>
          </a:p>
        </p:txBody>
      </p:sp>
      <p:sp>
        <p:nvSpPr>
          <p:cNvPr id="64" name="矩形 63">
            <a:hlinkClick r:id="rId29" action="ppaction://hlinksldjump"/>
            <a:extLst>
              <a:ext uri="{FF2B5EF4-FFF2-40B4-BE49-F238E27FC236}">
                <a16:creationId xmlns:a16="http://schemas.microsoft.com/office/drawing/2014/main" id="{3BA11C73-EA59-7082-EB66-347F4C39AC3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3" name="矩形 62">
            <a:hlinkClick r:id="rId30" action="ppaction://hlinksldjump"/>
            <a:extLst>
              <a:ext uri="{FF2B5EF4-FFF2-40B4-BE49-F238E27FC236}">
                <a16:creationId xmlns:a16="http://schemas.microsoft.com/office/drawing/2014/main" id="{CFF40E43-FDBA-6646-B723-14F1373D945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1</a:t>
            </a:r>
          </a:p>
        </p:txBody>
      </p:sp>
      <p:sp>
        <p:nvSpPr>
          <p:cNvPr id="62" name="矩形 61">
            <a:hlinkClick r:id="rId30" action="ppaction://hlinksldjump"/>
            <a:extLst>
              <a:ext uri="{FF2B5EF4-FFF2-40B4-BE49-F238E27FC236}">
                <a16:creationId xmlns:a16="http://schemas.microsoft.com/office/drawing/2014/main" id="{4201357D-C883-13E3-E7F8-24653EE7158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Task Planning</a:t>
            </a:r>
          </a:p>
        </p:txBody>
      </p:sp>
      <p:sp>
        <p:nvSpPr>
          <p:cNvPr id="61" name="矩形 60">
            <a:hlinkClick r:id="rId30" action="ppaction://hlinksldjump"/>
            <a:extLst>
              <a:ext uri="{FF2B5EF4-FFF2-40B4-BE49-F238E27FC236}">
                <a16:creationId xmlns:a16="http://schemas.microsoft.com/office/drawing/2014/main" id="{3DBCF0FD-2003-08B3-B0CD-0E3233505F7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矩形 59">
            <a:hlinkClick r:id="rId31" action="ppaction://hlinksldjump"/>
            <a:extLst>
              <a:ext uri="{FF2B5EF4-FFF2-40B4-BE49-F238E27FC236}">
                <a16:creationId xmlns:a16="http://schemas.microsoft.com/office/drawing/2014/main" id="{C293693C-7BA7-FF56-29CB-9A7F14E8276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9</a:t>
            </a:r>
          </a:p>
        </p:txBody>
      </p:sp>
      <p:sp>
        <p:nvSpPr>
          <p:cNvPr id="59" name="矩形 58">
            <a:hlinkClick r:id="rId31" action="ppaction://hlinksldjump"/>
            <a:extLst>
              <a:ext uri="{FF2B5EF4-FFF2-40B4-BE49-F238E27FC236}">
                <a16:creationId xmlns:a16="http://schemas.microsoft.com/office/drawing/2014/main" id="{13D0E221-A751-145D-FBC7-9D57640C7D6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Multimodal Foundation Model</a:t>
            </a:r>
          </a:p>
        </p:txBody>
      </p:sp>
      <p:sp>
        <p:nvSpPr>
          <p:cNvPr id="58" name="矩形 57">
            <a:hlinkClick r:id="rId31" action="ppaction://hlinksldjump"/>
            <a:extLst>
              <a:ext uri="{FF2B5EF4-FFF2-40B4-BE49-F238E27FC236}">
                <a16:creationId xmlns:a16="http://schemas.microsoft.com/office/drawing/2014/main" id="{BD53C453-CA3C-9F54-9CD7-8C89CA3DFE3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32" action="ppaction://hlinksldjump"/>
            <a:extLst>
              <a:ext uri="{FF2B5EF4-FFF2-40B4-BE49-F238E27FC236}">
                <a16:creationId xmlns:a16="http://schemas.microsoft.com/office/drawing/2014/main" id="{ADA77841-CD0D-9C3F-F8A8-69AAB122EDD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7</a:t>
            </a:r>
          </a:p>
        </p:txBody>
      </p:sp>
      <p:sp>
        <p:nvSpPr>
          <p:cNvPr id="56" name="矩形 55">
            <a:hlinkClick r:id="rId32" action="ppaction://hlinksldjump"/>
            <a:extLst>
              <a:ext uri="{FF2B5EF4-FFF2-40B4-BE49-F238E27FC236}">
                <a16:creationId xmlns:a16="http://schemas.microsoft.com/office/drawing/2014/main" id="{183DA859-CE2B-53E6-645B-0344899A5D4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5" name="矩形 54">
            <a:hlinkClick r:id="rId32" action="ppaction://hlinksldjump"/>
            <a:extLst>
              <a:ext uri="{FF2B5EF4-FFF2-40B4-BE49-F238E27FC236}">
                <a16:creationId xmlns:a16="http://schemas.microsoft.com/office/drawing/2014/main" id="{F4F2FC42-FBB8-D362-A6D8-F912FC1A7C9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B1D6313E-FC3F-75BD-98B5-B5F9E37CCFE4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Executions of Ag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6972031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39274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extLst>
              <a:ext uri="{FF2B5EF4-FFF2-40B4-BE49-F238E27FC236}">
                <a16:creationId xmlns:a16="http://schemas.microsoft.com/office/drawing/2014/main" id="{33F6D7B1-70F7-A2CD-12EA-B7778BD0EF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41569" y="4499335"/>
            <a:ext cx="1023369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26" action="ppaction://hlinksldjump"/>
            <a:extLst>
              <a:ext uri="{FF2B5EF4-FFF2-40B4-BE49-F238E27FC236}">
                <a16:creationId xmlns:a16="http://schemas.microsoft.com/office/drawing/2014/main" id="{43763305-418F-8337-61E2-F914BC6BB3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7</a:t>
            </a:r>
          </a:p>
        </p:txBody>
      </p:sp>
      <p:sp>
        <p:nvSpPr>
          <p:cNvPr id="74" name="矩形 73">
            <a:hlinkClick r:id="rId26" action="ppaction://hlinksldjump"/>
            <a:extLst>
              <a:ext uri="{FF2B5EF4-FFF2-40B4-BE49-F238E27FC236}">
                <a16:creationId xmlns:a16="http://schemas.microsoft.com/office/drawing/2014/main" id="{247B7505-9838-83E0-7967-E8D485300C6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41569" y="4499335"/>
            <a:ext cx="70003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on utilizing VLA model</a:t>
            </a:r>
          </a:p>
        </p:txBody>
      </p:sp>
      <p:sp>
        <p:nvSpPr>
          <p:cNvPr id="73" name="矩形 72">
            <a:hlinkClick r:id="rId26" action="ppaction://hlinksldjump"/>
            <a:extLst>
              <a:ext uri="{FF2B5EF4-FFF2-40B4-BE49-F238E27FC236}">
                <a16:creationId xmlns:a16="http://schemas.microsoft.com/office/drawing/2014/main" id="{5BFAAE43-96F1-587B-11C6-DA65BAA920E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72" name="矩形 71">
            <a:hlinkClick r:id="rId27" action="ppaction://hlinksldjump"/>
            <a:extLst>
              <a:ext uri="{FF2B5EF4-FFF2-40B4-BE49-F238E27FC236}">
                <a16:creationId xmlns:a16="http://schemas.microsoft.com/office/drawing/2014/main" id="{061FD807-20C0-129B-9C51-0BB2226DEA9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5</a:t>
            </a:r>
          </a:p>
        </p:txBody>
      </p:sp>
      <p:sp>
        <p:nvSpPr>
          <p:cNvPr id="71" name="矩形 70">
            <a:hlinkClick r:id="rId27" action="ppaction://hlinksldjump"/>
            <a:extLst>
              <a:ext uri="{FF2B5EF4-FFF2-40B4-BE49-F238E27FC236}">
                <a16:creationId xmlns:a16="http://schemas.microsoft.com/office/drawing/2014/main" id="{C22295DF-4FB9-53BB-DE14-FD1B9AE9D51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41569" y="403572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on utilizing APIs</a:t>
            </a:r>
          </a:p>
        </p:txBody>
      </p:sp>
      <p:sp>
        <p:nvSpPr>
          <p:cNvPr id="70" name="矩形 69">
            <a:hlinkClick r:id="rId27" action="ppaction://hlinksldjump"/>
            <a:extLst>
              <a:ext uri="{FF2B5EF4-FFF2-40B4-BE49-F238E27FC236}">
                <a16:creationId xmlns:a16="http://schemas.microsoft.com/office/drawing/2014/main" id="{951F911E-9B9B-2561-F0A0-33AA3B364B7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69" name="矩形 68">
            <a:hlinkClick r:id="rId28" action="ppaction://hlinksldjump"/>
            <a:extLst>
              <a:ext uri="{FF2B5EF4-FFF2-40B4-BE49-F238E27FC236}">
                <a16:creationId xmlns:a16="http://schemas.microsoft.com/office/drawing/2014/main" id="{132F5C02-BF53-AB76-C1AA-3790BF9006E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3</a:t>
            </a:r>
          </a:p>
        </p:txBody>
      </p:sp>
      <p:sp>
        <p:nvSpPr>
          <p:cNvPr id="68" name="矩形 67">
            <a:hlinkClick r:id="rId28" action="ppaction://hlinksldjump"/>
            <a:extLst>
              <a:ext uri="{FF2B5EF4-FFF2-40B4-BE49-F238E27FC236}">
                <a16:creationId xmlns:a16="http://schemas.microsoft.com/office/drawing/2014/main" id="{FD7070D4-9C9E-4894-4FDF-124073414E4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3572115"/>
            <a:ext cx="70003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28" action="ppaction://hlinksldjump"/>
            <a:extLst>
              <a:ext uri="{FF2B5EF4-FFF2-40B4-BE49-F238E27FC236}">
                <a16:creationId xmlns:a16="http://schemas.microsoft.com/office/drawing/2014/main" id="{FA2B7390-2501-A824-C70E-5D9968FF1F2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66" name="矩形 65">
            <a:hlinkClick r:id="rId29" action="ppaction://hlinksldjump"/>
            <a:extLst>
              <a:ext uri="{FF2B5EF4-FFF2-40B4-BE49-F238E27FC236}">
                <a16:creationId xmlns:a16="http://schemas.microsoft.com/office/drawing/2014/main" id="{A3722BDB-33DF-F672-999F-913C4D6E36A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1</a:t>
            </a:r>
          </a:p>
        </p:txBody>
      </p:sp>
      <p:sp>
        <p:nvSpPr>
          <p:cNvPr id="65" name="矩形 64">
            <a:hlinkClick r:id="rId29" action="ppaction://hlinksldjump"/>
            <a:extLst>
              <a:ext uri="{FF2B5EF4-FFF2-40B4-BE49-F238E27FC236}">
                <a16:creationId xmlns:a16="http://schemas.microsoft.com/office/drawing/2014/main" id="{DD780597-1EB1-2B5E-249F-51BA75D6156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Action Planning</a:t>
            </a:r>
          </a:p>
        </p:txBody>
      </p:sp>
      <p:sp>
        <p:nvSpPr>
          <p:cNvPr id="64" name="矩形 63">
            <a:hlinkClick r:id="rId29" action="ppaction://hlinksldjump"/>
            <a:extLst>
              <a:ext uri="{FF2B5EF4-FFF2-40B4-BE49-F238E27FC236}">
                <a16:creationId xmlns:a16="http://schemas.microsoft.com/office/drawing/2014/main" id="{2C5A27F3-A800-D54E-2534-41EB2447C6D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3" name="矩形 62">
            <a:hlinkClick r:id="rId30" action="ppaction://hlinksldjump"/>
            <a:extLst>
              <a:ext uri="{FF2B5EF4-FFF2-40B4-BE49-F238E27FC236}">
                <a16:creationId xmlns:a16="http://schemas.microsoft.com/office/drawing/2014/main" id="{0B881090-9A0A-D8B7-FAA5-EBD1B067780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1</a:t>
            </a:r>
          </a:p>
        </p:txBody>
      </p:sp>
      <p:sp>
        <p:nvSpPr>
          <p:cNvPr id="62" name="矩形 61">
            <a:hlinkClick r:id="rId30" action="ppaction://hlinksldjump"/>
            <a:extLst>
              <a:ext uri="{FF2B5EF4-FFF2-40B4-BE49-F238E27FC236}">
                <a16:creationId xmlns:a16="http://schemas.microsoft.com/office/drawing/2014/main" id="{39D8E2C8-24B8-F878-5F1B-85E4A57D107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Task Planning</a:t>
            </a:r>
          </a:p>
        </p:txBody>
      </p:sp>
      <p:sp>
        <p:nvSpPr>
          <p:cNvPr id="61" name="矩形 60">
            <a:hlinkClick r:id="rId30" action="ppaction://hlinksldjump"/>
            <a:extLst>
              <a:ext uri="{FF2B5EF4-FFF2-40B4-BE49-F238E27FC236}">
                <a16:creationId xmlns:a16="http://schemas.microsoft.com/office/drawing/2014/main" id="{19623AEC-9FD7-A596-C156-07D49B30A65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矩形 59">
            <a:hlinkClick r:id="rId31" action="ppaction://hlinksldjump"/>
            <a:extLst>
              <a:ext uri="{FF2B5EF4-FFF2-40B4-BE49-F238E27FC236}">
                <a16:creationId xmlns:a16="http://schemas.microsoft.com/office/drawing/2014/main" id="{EF7B9C19-A8BA-306C-7C40-BA6B4C7B9C7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9</a:t>
            </a:r>
          </a:p>
        </p:txBody>
      </p:sp>
      <p:sp>
        <p:nvSpPr>
          <p:cNvPr id="59" name="矩形 58">
            <a:hlinkClick r:id="rId31" action="ppaction://hlinksldjump"/>
            <a:extLst>
              <a:ext uri="{FF2B5EF4-FFF2-40B4-BE49-F238E27FC236}">
                <a16:creationId xmlns:a16="http://schemas.microsoft.com/office/drawing/2014/main" id="{5EF602EA-7D41-3CCE-A7E4-9091B4BBABA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Multimodal Foundation Model</a:t>
            </a:r>
          </a:p>
        </p:txBody>
      </p:sp>
      <p:sp>
        <p:nvSpPr>
          <p:cNvPr id="58" name="矩形 57">
            <a:hlinkClick r:id="rId31" action="ppaction://hlinksldjump"/>
            <a:extLst>
              <a:ext uri="{FF2B5EF4-FFF2-40B4-BE49-F238E27FC236}">
                <a16:creationId xmlns:a16="http://schemas.microsoft.com/office/drawing/2014/main" id="{E0DBEF19-1CF8-776A-15F1-7707C20DC10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32" action="ppaction://hlinksldjump"/>
            <a:extLst>
              <a:ext uri="{FF2B5EF4-FFF2-40B4-BE49-F238E27FC236}">
                <a16:creationId xmlns:a16="http://schemas.microsoft.com/office/drawing/2014/main" id="{3F47EC93-8785-5840-E519-0A895D5A1E41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7</a:t>
            </a:r>
          </a:p>
        </p:txBody>
      </p:sp>
      <p:sp>
        <p:nvSpPr>
          <p:cNvPr id="56" name="矩形 55">
            <a:hlinkClick r:id="rId32" action="ppaction://hlinksldjump"/>
            <a:extLst>
              <a:ext uri="{FF2B5EF4-FFF2-40B4-BE49-F238E27FC236}">
                <a16:creationId xmlns:a16="http://schemas.microsoft.com/office/drawing/2014/main" id="{E378466D-01C1-3E5A-8CD1-D262E74C8F6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746392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5" name="矩形 54">
            <a:hlinkClick r:id="rId32" action="ppaction://hlinksldjump"/>
            <a:extLst>
              <a:ext uri="{FF2B5EF4-FFF2-40B4-BE49-F238E27FC236}">
                <a16:creationId xmlns:a16="http://schemas.microsoft.com/office/drawing/2014/main" id="{DDFFE8C5-70A0-CCCD-CF0B-CFDD31FB875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6FD9F26E-D76C-2520-A36F-CE414ECBD438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Executions of Ag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7008066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173341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矩形 140">
            <a:hlinkClick r:id="rId29" action="ppaction://hlinksldjump"/>
            <a:extLst>
              <a:ext uri="{FF2B5EF4-FFF2-40B4-BE49-F238E27FC236}">
                <a16:creationId xmlns:a16="http://schemas.microsoft.com/office/drawing/2014/main" id="{BE6E5D07-1A26-1045-0F59-F19A3D9703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5</a:t>
            </a:r>
          </a:p>
        </p:txBody>
      </p:sp>
      <p:sp>
        <p:nvSpPr>
          <p:cNvPr id="140" name="矩形 139">
            <a:hlinkClick r:id="rId29" action="ppaction://hlinksldjump"/>
            <a:extLst>
              <a:ext uri="{FF2B5EF4-FFF2-40B4-BE49-F238E27FC236}">
                <a16:creationId xmlns:a16="http://schemas.microsoft.com/office/drawing/2014/main" id="{02E2BF66-EA53-611C-D05E-51046EFA0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&amp; Future Directions</a:t>
            </a:r>
          </a:p>
        </p:txBody>
      </p:sp>
      <p:sp>
        <p:nvSpPr>
          <p:cNvPr id="139" name="矩形 138">
            <a:hlinkClick r:id="rId29" action="ppaction://hlinksldjump"/>
            <a:extLst>
              <a:ext uri="{FF2B5EF4-FFF2-40B4-BE49-F238E27FC236}">
                <a16:creationId xmlns:a16="http://schemas.microsoft.com/office/drawing/2014/main" id="{B1DAD2E1-7CEC-1DE6-9BC2-66772C329E4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38" name="矩形 137">
            <a:extLst>
              <a:ext uri="{FF2B5EF4-FFF2-40B4-BE49-F238E27FC236}">
                <a16:creationId xmlns:a16="http://schemas.microsoft.com/office/drawing/2014/main" id="{2994EF1A-1E8E-6061-83AE-084B6816E27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4499335"/>
            <a:ext cx="1069730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37" name="矩形 136">
            <a:hlinkClick r:id="rId30" action="ppaction://hlinksldjump"/>
            <a:extLst>
              <a:ext uri="{FF2B5EF4-FFF2-40B4-BE49-F238E27FC236}">
                <a16:creationId xmlns:a16="http://schemas.microsoft.com/office/drawing/2014/main" id="{341D0BCC-A198-5716-7A9A-9C2C275AC1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9</a:t>
            </a:r>
          </a:p>
        </p:txBody>
      </p:sp>
      <p:sp>
        <p:nvSpPr>
          <p:cNvPr id="136" name="矩形 135">
            <a:hlinkClick r:id="rId30" action="ppaction://hlinksldjump"/>
            <a:extLst>
              <a:ext uri="{FF2B5EF4-FFF2-40B4-BE49-F238E27FC236}">
                <a16:creationId xmlns:a16="http://schemas.microsoft.com/office/drawing/2014/main" id="{81F4B807-6153-A1CC-0507-06B411F1625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296395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135" name="矩形 134">
            <a:hlinkClick r:id="rId30" action="ppaction://hlinksldjump"/>
            <a:extLst>
              <a:ext uri="{FF2B5EF4-FFF2-40B4-BE49-F238E27FC236}">
                <a16:creationId xmlns:a16="http://schemas.microsoft.com/office/drawing/2014/main" id="{A1499174-B010-A586-133E-C8D01A21D6C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34" name="矩形 133">
            <a:hlinkClick r:id="rId31" action="ppaction://hlinksldjump"/>
            <a:extLst>
              <a:ext uri="{FF2B5EF4-FFF2-40B4-BE49-F238E27FC236}">
                <a16:creationId xmlns:a16="http://schemas.microsoft.com/office/drawing/2014/main" id="{63B12178-394B-CCFF-7F97-160CAEEDF04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5</a:t>
            </a:r>
          </a:p>
        </p:txBody>
      </p:sp>
      <p:sp>
        <p:nvSpPr>
          <p:cNvPr id="133" name="矩形 132">
            <a:hlinkClick r:id="rId31" action="ppaction://hlinksldjump"/>
            <a:extLst>
              <a:ext uri="{FF2B5EF4-FFF2-40B4-BE49-F238E27FC236}">
                <a16:creationId xmlns:a16="http://schemas.microsoft.com/office/drawing/2014/main" id="{1A7FF7C4-8F46-6B27-53BA-2BA1B92C41D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132" name="矩形 131">
            <a:hlinkClick r:id="rId31" action="ppaction://hlinksldjump"/>
            <a:extLst>
              <a:ext uri="{FF2B5EF4-FFF2-40B4-BE49-F238E27FC236}">
                <a16:creationId xmlns:a16="http://schemas.microsoft.com/office/drawing/2014/main" id="{C6EBF996-5F27-B914-DD1A-B3F8EE25F37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1" name="矩形 130">
            <a:hlinkClick r:id="rId32" action="ppaction://hlinksldjump"/>
            <a:extLst>
              <a:ext uri="{FF2B5EF4-FFF2-40B4-BE49-F238E27FC236}">
                <a16:creationId xmlns:a16="http://schemas.microsoft.com/office/drawing/2014/main" id="{369E1A46-B89C-EDB1-A820-1022562C517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5</a:t>
            </a:r>
          </a:p>
        </p:txBody>
      </p:sp>
      <p:sp>
        <p:nvSpPr>
          <p:cNvPr id="130" name="矩形 129">
            <a:hlinkClick r:id="rId32" action="ppaction://hlinksldjump"/>
            <a:extLst>
              <a:ext uri="{FF2B5EF4-FFF2-40B4-BE49-F238E27FC236}">
                <a16:creationId xmlns:a16="http://schemas.microsoft.com/office/drawing/2014/main" id="{832FC0C0-10AE-ED8E-4781-9E78E12691B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129" name="矩形 128">
            <a:hlinkClick r:id="rId32" action="ppaction://hlinksldjump"/>
            <a:extLst>
              <a:ext uri="{FF2B5EF4-FFF2-40B4-BE49-F238E27FC236}">
                <a16:creationId xmlns:a16="http://schemas.microsoft.com/office/drawing/2014/main" id="{50A42E0A-A7E5-DCFF-D50B-5F7DF5CCF5B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8" name="矩形 127">
            <a:hlinkClick r:id="rId33" action="ppaction://hlinksldjump"/>
            <a:extLst>
              <a:ext uri="{FF2B5EF4-FFF2-40B4-BE49-F238E27FC236}">
                <a16:creationId xmlns:a16="http://schemas.microsoft.com/office/drawing/2014/main" id="{8D6CCD78-8E35-0C33-A120-9BF5EBA189C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5</a:t>
            </a:r>
          </a:p>
        </p:txBody>
      </p:sp>
      <p:sp>
        <p:nvSpPr>
          <p:cNvPr id="127" name="矩形 126">
            <a:hlinkClick r:id="rId33" action="ppaction://hlinksldjump"/>
            <a:extLst>
              <a:ext uri="{FF2B5EF4-FFF2-40B4-BE49-F238E27FC236}">
                <a16:creationId xmlns:a16="http://schemas.microsoft.com/office/drawing/2014/main" id="{C03BD8B0-8215-3927-8EF9-866A0C2CA99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126" name="矩形 125">
            <a:hlinkClick r:id="rId33" action="ppaction://hlinksldjump"/>
            <a:extLst>
              <a:ext uri="{FF2B5EF4-FFF2-40B4-BE49-F238E27FC236}">
                <a16:creationId xmlns:a16="http://schemas.microsoft.com/office/drawing/2014/main" id="{8D2F7102-D4B8-B4CE-483F-95C37A4873B6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5" name="矩形 124">
            <a:hlinkClick r:id="rId34" action="ppaction://hlinksldjump"/>
            <a:extLst>
              <a:ext uri="{FF2B5EF4-FFF2-40B4-BE49-F238E27FC236}">
                <a16:creationId xmlns:a16="http://schemas.microsoft.com/office/drawing/2014/main" id="{C9525D16-D5D4-E48A-5A57-10F08AC65C4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124" name="矩形 123">
            <a:hlinkClick r:id="rId34" action="ppaction://hlinksldjump"/>
            <a:extLst>
              <a:ext uri="{FF2B5EF4-FFF2-40B4-BE49-F238E27FC236}">
                <a16:creationId xmlns:a16="http://schemas.microsoft.com/office/drawing/2014/main" id="{2D6CA22F-79E1-EBB4-D0D1-E36E2056F1C2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123" name="矩形 122">
            <a:hlinkClick r:id="rId34" action="ppaction://hlinksldjump"/>
            <a:extLst>
              <a:ext uri="{FF2B5EF4-FFF2-40B4-BE49-F238E27FC236}">
                <a16:creationId xmlns:a16="http://schemas.microsoft.com/office/drawing/2014/main" id="{241D1ACA-5872-3EE4-4AF0-443027110585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2" name="矩形 121">
            <a:hlinkClick r:id="rId35" action="ppaction://hlinksldjump"/>
            <a:extLst>
              <a:ext uri="{FF2B5EF4-FFF2-40B4-BE49-F238E27FC236}">
                <a16:creationId xmlns:a16="http://schemas.microsoft.com/office/drawing/2014/main" id="{4D5B081E-284A-1D21-2CC7-35BC591F0D1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121" name="矩形 120">
            <a:hlinkClick r:id="rId35" action="ppaction://hlinksldjump"/>
            <a:extLst>
              <a:ext uri="{FF2B5EF4-FFF2-40B4-BE49-F238E27FC236}">
                <a16:creationId xmlns:a16="http://schemas.microsoft.com/office/drawing/2014/main" id="{4B8A13D2-0778-8CDB-5503-C9BB1A52B11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120" name="矩形 119">
            <a:hlinkClick r:id="rId35" action="ppaction://hlinksldjump"/>
            <a:extLst>
              <a:ext uri="{FF2B5EF4-FFF2-40B4-BE49-F238E27FC236}">
                <a16:creationId xmlns:a16="http://schemas.microsoft.com/office/drawing/2014/main" id="{C83CB7A3-84C0-EEB6-5B20-BE5EB0D3F52D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9" name="矩形 118">
            <a:hlinkClick r:id="rId36" action="ppaction://hlinksldjump"/>
            <a:extLst>
              <a:ext uri="{FF2B5EF4-FFF2-40B4-BE49-F238E27FC236}">
                <a16:creationId xmlns:a16="http://schemas.microsoft.com/office/drawing/2014/main" id="{B8E39CEE-884F-135F-D381-3A69C210B6E5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8" name="矩形 117">
            <a:hlinkClick r:id="rId36" action="ppaction://hlinksldjump"/>
            <a:extLst>
              <a:ext uri="{FF2B5EF4-FFF2-40B4-BE49-F238E27FC236}">
                <a16:creationId xmlns:a16="http://schemas.microsoft.com/office/drawing/2014/main" id="{31C77977-E73F-A412-D541-4A3EE567E702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117" name="矩形 116">
            <a:hlinkClick r:id="rId36" action="ppaction://hlinksldjump"/>
            <a:extLst>
              <a:ext uri="{FF2B5EF4-FFF2-40B4-BE49-F238E27FC236}">
                <a16:creationId xmlns:a16="http://schemas.microsoft.com/office/drawing/2014/main" id="{44EC8EC9-A0F7-A5F8-2DF9-323CA69140F5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6" name="标题 115">
            <a:extLst>
              <a:ext uri="{FF2B5EF4-FFF2-40B4-BE49-F238E27FC236}">
                <a16:creationId xmlns:a16="http://schemas.microsoft.com/office/drawing/2014/main" id="{86289008-DBFC-FEAD-28BE-064D3709342C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Tools &amp; Task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25527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 25">
            <a:hlinkClick r:id="rId27" action="ppaction://hlinksldjump"/>
            <a:extLst>
              <a:ext uri="{FF2B5EF4-FFF2-40B4-BE49-F238E27FC236}">
                <a16:creationId xmlns:a16="http://schemas.microsoft.com/office/drawing/2014/main" id="{5C88E552-6E31-0185-69EE-30EA2F9571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25" name="矩形 24">
            <a:hlinkClick r:id="rId27" action="ppaction://hlinksldjump"/>
            <a:extLst>
              <a:ext uri="{FF2B5EF4-FFF2-40B4-BE49-F238E27FC236}">
                <a16:creationId xmlns:a16="http://schemas.microsoft.com/office/drawing/2014/main" id="{83D16358-D16D-1488-1E1C-99A69593D3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499335"/>
            <a:ext cx="184826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Biomimetic Robots</a:t>
            </a:r>
          </a:p>
        </p:txBody>
      </p:sp>
      <p:sp>
        <p:nvSpPr>
          <p:cNvPr id="24" name="矩形 23">
            <a:hlinkClick r:id="rId27" action="ppaction://hlinksldjump"/>
            <a:extLst>
              <a:ext uri="{FF2B5EF4-FFF2-40B4-BE49-F238E27FC236}">
                <a16:creationId xmlns:a16="http://schemas.microsoft.com/office/drawing/2014/main" id="{4526974C-B69E-C8BD-3A1B-5BA71E746A3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23" name="矩形 22">
            <a:hlinkClick r:id="rId28" action="ppaction://hlinksldjump"/>
            <a:extLst>
              <a:ext uri="{FF2B5EF4-FFF2-40B4-BE49-F238E27FC236}">
                <a16:creationId xmlns:a16="http://schemas.microsoft.com/office/drawing/2014/main" id="{1D23EB05-A5D0-D755-075B-596F85145D3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22" name="矩形 21">
            <a:hlinkClick r:id="rId28" action="ppaction://hlinksldjump"/>
            <a:extLst>
              <a:ext uri="{FF2B5EF4-FFF2-40B4-BE49-F238E27FC236}">
                <a16:creationId xmlns:a16="http://schemas.microsoft.com/office/drawing/2014/main" id="{C4D1ACB9-92B1-F18B-94C1-CFB0EFC1DE0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03572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umanoid Robots</a:t>
            </a:r>
          </a:p>
        </p:txBody>
      </p:sp>
      <p:sp>
        <p:nvSpPr>
          <p:cNvPr id="21" name="矩形 20">
            <a:hlinkClick r:id="rId28" action="ppaction://hlinksldjump"/>
            <a:extLst>
              <a:ext uri="{FF2B5EF4-FFF2-40B4-BE49-F238E27FC236}">
                <a16:creationId xmlns:a16="http://schemas.microsoft.com/office/drawing/2014/main" id="{8D70EA43-BDE6-912F-41C3-30FFF427282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0" name="矩形 19">
            <a:hlinkClick r:id="rId29" action="ppaction://hlinksldjump"/>
            <a:extLst>
              <a:ext uri="{FF2B5EF4-FFF2-40B4-BE49-F238E27FC236}">
                <a16:creationId xmlns:a16="http://schemas.microsoft.com/office/drawing/2014/main" id="{E14BEBCA-C984-B991-09DB-BD3A59372EE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19" name="矩形 18">
            <a:hlinkClick r:id="rId29" action="ppaction://hlinksldjump"/>
            <a:extLst>
              <a:ext uri="{FF2B5EF4-FFF2-40B4-BE49-F238E27FC236}">
                <a16:creationId xmlns:a16="http://schemas.microsoft.com/office/drawing/2014/main" id="{704A3E0B-9D5B-3630-B3D4-EEF06190641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57211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Quadruped Robots</a:t>
            </a:r>
          </a:p>
        </p:txBody>
      </p:sp>
      <p:sp>
        <p:nvSpPr>
          <p:cNvPr id="18" name="矩形 17">
            <a:hlinkClick r:id="rId29" action="ppaction://hlinksldjump"/>
            <a:extLst>
              <a:ext uri="{FF2B5EF4-FFF2-40B4-BE49-F238E27FC236}">
                <a16:creationId xmlns:a16="http://schemas.microsoft.com/office/drawing/2014/main" id="{2744AE7B-BEEB-49FA-60AD-CE3DAF4474E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7" name="矩形 16">
            <a:hlinkClick r:id="rId30" action="ppaction://hlinksldjump"/>
            <a:extLst>
              <a:ext uri="{FF2B5EF4-FFF2-40B4-BE49-F238E27FC236}">
                <a16:creationId xmlns:a16="http://schemas.microsoft.com/office/drawing/2014/main" id="{4D745C3B-8CE2-3265-D86C-356F34CE349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16" name="矩形 15">
            <a:hlinkClick r:id="rId30" action="ppaction://hlinksldjump"/>
            <a:extLst>
              <a:ext uri="{FF2B5EF4-FFF2-40B4-BE49-F238E27FC236}">
                <a16:creationId xmlns:a16="http://schemas.microsoft.com/office/drawing/2014/main" id="{D92296D5-D70B-8107-EE8D-852F3B5E63C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10850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cked Robots</a:t>
            </a:r>
          </a:p>
        </p:txBody>
      </p:sp>
      <p:sp>
        <p:nvSpPr>
          <p:cNvPr id="15" name="矩形 14">
            <a:hlinkClick r:id="rId30" action="ppaction://hlinksldjump"/>
            <a:extLst>
              <a:ext uri="{FF2B5EF4-FFF2-40B4-BE49-F238E27FC236}">
                <a16:creationId xmlns:a16="http://schemas.microsoft.com/office/drawing/2014/main" id="{618C645F-58C1-C572-78D5-CA904C85E23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A7D1F5F1-7FB2-365A-C266-7F2DFDDB1F6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3" name="矩形 12">
            <a:hlinkClick r:id="rId31" action="ppaction://hlinksldjump"/>
            <a:extLst>
              <a:ext uri="{FF2B5EF4-FFF2-40B4-BE49-F238E27FC236}">
                <a16:creationId xmlns:a16="http://schemas.microsoft.com/office/drawing/2014/main" id="{8A3B1D53-7189-EA35-4184-23B600D36F8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</a:t>
            </a:r>
          </a:p>
        </p:txBody>
      </p:sp>
      <p:sp>
        <p:nvSpPr>
          <p:cNvPr id="12" name="矩形 11">
            <a:hlinkClick r:id="rId31" action="ppaction://hlinksldjump"/>
            <a:extLst>
              <a:ext uri="{FF2B5EF4-FFF2-40B4-BE49-F238E27FC236}">
                <a16:creationId xmlns:a16="http://schemas.microsoft.com/office/drawing/2014/main" id="{5FB65965-3FA5-9444-2D3E-AE67219B71B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heeled Robots</a:t>
            </a:r>
          </a:p>
        </p:txBody>
      </p:sp>
      <p:sp>
        <p:nvSpPr>
          <p:cNvPr id="11" name="矩形 10">
            <a:hlinkClick r:id="rId31" action="ppaction://hlinksldjump"/>
            <a:extLst>
              <a:ext uri="{FF2B5EF4-FFF2-40B4-BE49-F238E27FC236}">
                <a16:creationId xmlns:a16="http://schemas.microsoft.com/office/drawing/2014/main" id="{A0EC5DCE-0887-5568-3D5A-A897BB3F532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矩形 9">
            <a:hlinkClick r:id="rId32" action="ppaction://hlinksldjump"/>
            <a:extLst>
              <a:ext uri="{FF2B5EF4-FFF2-40B4-BE49-F238E27FC236}">
                <a16:creationId xmlns:a16="http://schemas.microsoft.com/office/drawing/2014/main" id="{67E814A0-3BAA-6FFB-C5EC-7C340EF54D4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9" name="矩形 8">
            <a:hlinkClick r:id="rId32" action="ppaction://hlinksldjump"/>
            <a:extLst>
              <a:ext uri="{FF2B5EF4-FFF2-40B4-BE49-F238E27FC236}">
                <a16:creationId xmlns:a16="http://schemas.microsoft.com/office/drawing/2014/main" id="{910E2753-00F2-E87D-2387-289A06740AA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xed-base Robots</a:t>
            </a:r>
          </a:p>
        </p:txBody>
      </p:sp>
      <p:sp>
        <p:nvSpPr>
          <p:cNvPr id="8" name="矩形 7">
            <a:hlinkClick r:id="rId32" action="ppaction://hlinksldjump"/>
            <a:extLst>
              <a:ext uri="{FF2B5EF4-FFF2-40B4-BE49-F238E27FC236}">
                <a16:creationId xmlns:a16="http://schemas.microsoft.com/office/drawing/2014/main" id="{C0C4D09F-0936-D79C-C09A-27D62A384065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矩形 6">
            <a:hlinkClick r:id="rId33" action="ppaction://hlinksldjump"/>
            <a:extLst>
              <a:ext uri="{FF2B5EF4-FFF2-40B4-BE49-F238E27FC236}">
                <a16:creationId xmlns:a16="http://schemas.microsoft.com/office/drawing/2014/main" id="{30E56C1B-8FE5-998E-663E-97F37A643285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6" name="矩形 5">
            <a:hlinkClick r:id="rId33" action="ppaction://hlinksldjump"/>
            <a:extLst>
              <a:ext uri="{FF2B5EF4-FFF2-40B4-BE49-F238E27FC236}">
                <a16:creationId xmlns:a16="http://schemas.microsoft.com/office/drawing/2014/main" id="{542A677C-BFE6-354E-1EEF-D169DB825B36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" name="矩形 4">
            <a:hlinkClick r:id="rId33" action="ppaction://hlinksldjump"/>
            <a:extLst>
              <a:ext uri="{FF2B5EF4-FFF2-40B4-BE49-F238E27FC236}">
                <a16:creationId xmlns:a16="http://schemas.microsoft.com/office/drawing/2014/main" id="{7B32130C-AF81-74CE-EF4E-2153D83A0E6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A3B2BEC0-C1F9-A4E7-FC65-25F4F23D01A1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Types of Robots</a:t>
            </a:r>
          </a:p>
        </p:txBody>
      </p:sp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73E89594-4AEA-27A5-62EE-53C9C58E9996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4" imgW="473" imgH="476" progId="TCLayout.ActiveDocument.1">
                  <p:embed/>
                </p:oleObj>
              </mc:Choice>
              <mc:Fallback>
                <p:oleObj name="think-cell 幻灯片" r:id="rId34" imgW="473" imgH="476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E89594-4AEA-27A5-62EE-53C9C58E9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3059774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95316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矩形 57">
            <a:hlinkClick r:id="rId20" action="ppaction://hlinksldjump"/>
            <a:extLst>
              <a:ext uri="{FF2B5EF4-FFF2-40B4-BE49-F238E27FC236}">
                <a16:creationId xmlns:a16="http://schemas.microsoft.com/office/drawing/2014/main" id="{ABB1A086-F622-5798-80B4-890390242E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57" name="矩形 56">
            <a:hlinkClick r:id="rId20" action="ppaction://hlinksldjump"/>
            <a:extLst>
              <a:ext uri="{FF2B5EF4-FFF2-40B4-BE49-F238E27FC236}">
                <a16:creationId xmlns:a16="http://schemas.microsoft.com/office/drawing/2014/main" id="{C157E90D-FD4A-A0A8-0D07-ECC008D1C2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57211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56" name="矩形 55">
            <a:hlinkClick r:id="rId20" action="ppaction://hlinksldjump"/>
            <a:extLst>
              <a:ext uri="{FF2B5EF4-FFF2-40B4-BE49-F238E27FC236}">
                <a16:creationId xmlns:a16="http://schemas.microsoft.com/office/drawing/2014/main" id="{A2688EB1-27DC-B949-5C22-5D4F447E56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5" name="矩形 54">
            <a:hlinkClick r:id="rId21" action="ppaction://hlinksldjump"/>
            <a:extLst>
              <a:ext uri="{FF2B5EF4-FFF2-40B4-BE49-F238E27FC236}">
                <a16:creationId xmlns:a16="http://schemas.microsoft.com/office/drawing/2014/main" id="{4F2692C4-E547-A5CE-D07A-4644FA9DF56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54" name="矩形 53">
            <a:hlinkClick r:id="rId21" action="ppaction://hlinksldjump"/>
            <a:extLst>
              <a:ext uri="{FF2B5EF4-FFF2-40B4-BE49-F238E27FC236}">
                <a16:creationId xmlns:a16="http://schemas.microsoft.com/office/drawing/2014/main" id="{6B989EE7-8D93-2766-A9C0-DC0C1A65912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10850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53" name="矩形 52">
            <a:hlinkClick r:id="rId21" action="ppaction://hlinksldjump"/>
            <a:extLst>
              <a:ext uri="{FF2B5EF4-FFF2-40B4-BE49-F238E27FC236}">
                <a16:creationId xmlns:a16="http://schemas.microsoft.com/office/drawing/2014/main" id="{B653C88D-D9D8-7FF9-9E1E-F22CA6519A6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2" name="矩形 51">
            <a:hlinkClick r:id="rId22" action="ppaction://hlinksldjump"/>
            <a:extLst>
              <a:ext uri="{FF2B5EF4-FFF2-40B4-BE49-F238E27FC236}">
                <a16:creationId xmlns:a16="http://schemas.microsoft.com/office/drawing/2014/main" id="{B47BD029-BC09-C1C6-DA01-9E38A6A01C3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51" name="矩形 50">
            <a:hlinkClick r:id="rId22" action="ppaction://hlinksldjump"/>
            <a:extLst>
              <a:ext uri="{FF2B5EF4-FFF2-40B4-BE49-F238E27FC236}">
                <a16:creationId xmlns:a16="http://schemas.microsoft.com/office/drawing/2014/main" id="{465FD4D7-ADBE-E488-8290-701F31F647B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50" name="矩形 49">
            <a:hlinkClick r:id="rId22" action="ppaction://hlinksldjump"/>
            <a:extLst>
              <a:ext uri="{FF2B5EF4-FFF2-40B4-BE49-F238E27FC236}">
                <a16:creationId xmlns:a16="http://schemas.microsoft.com/office/drawing/2014/main" id="{D41FC97A-DDFE-4573-F91B-DE004932680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9" name="矩形 48">
            <a:hlinkClick r:id="rId23" action="ppaction://hlinksldjump"/>
            <a:extLst>
              <a:ext uri="{FF2B5EF4-FFF2-40B4-BE49-F238E27FC236}">
                <a16:creationId xmlns:a16="http://schemas.microsoft.com/office/drawing/2014/main" id="{B9F862A6-F589-2EA1-34A5-484F30331B6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48" name="矩形 47">
            <a:hlinkClick r:id="rId23" action="ppaction://hlinksldjump"/>
            <a:extLst>
              <a:ext uri="{FF2B5EF4-FFF2-40B4-BE49-F238E27FC236}">
                <a16:creationId xmlns:a16="http://schemas.microsoft.com/office/drawing/2014/main" id="{227174EF-2C67-7B39-39AC-CBAC8BAC07C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47" name="矩形 46">
            <a:hlinkClick r:id="rId23" action="ppaction://hlinksldjump"/>
            <a:extLst>
              <a:ext uri="{FF2B5EF4-FFF2-40B4-BE49-F238E27FC236}">
                <a16:creationId xmlns:a16="http://schemas.microsoft.com/office/drawing/2014/main" id="{1936B4D2-6E44-1215-EC8D-77422098F22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399A119B-777B-15B3-F175-0818000BBF0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5" name="矩形 44">
            <a:hlinkClick r:id="rId24" action="ppaction://hlinksldjump"/>
            <a:extLst>
              <a:ext uri="{FF2B5EF4-FFF2-40B4-BE49-F238E27FC236}">
                <a16:creationId xmlns:a16="http://schemas.microsoft.com/office/drawing/2014/main" id="{EF1698E5-2172-4368-9A03-B7FE3C3F544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44" name="矩形 43">
            <a:hlinkClick r:id="rId24" action="ppaction://hlinksldjump"/>
            <a:extLst>
              <a:ext uri="{FF2B5EF4-FFF2-40B4-BE49-F238E27FC236}">
                <a16:creationId xmlns:a16="http://schemas.microsoft.com/office/drawing/2014/main" id="{0B0E819F-D985-E0DE-9B84-6D2787395E5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43" name="矩形 42">
            <a:hlinkClick r:id="rId24" action="ppaction://hlinksldjump"/>
            <a:extLst>
              <a:ext uri="{FF2B5EF4-FFF2-40B4-BE49-F238E27FC236}">
                <a16:creationId xmlns:a16="http://schemas.microsoft.com/office/drawing/2014/main" id="{FC863BEA-CE19-3E6D-55F3-1BBC15356C2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2" name="标题 41">
            <a:extLst>
              <a:ext uri="{FF2B5EF4-FFF2-40B4-BE49-F238E27FC236}">
                <a16:creationId xmlns:a16="http://schemas.microsoft.com/office/drawing/2014/main" id="{A5112219-3EFF-ECA0-3FAF-7AA5CF55722A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5589303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628167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E0404F40-9B9D-4A00-E117-B6211A7B19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1E67C7B9-E045-2328-B9F4-7437D4137EE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DA7D2D15-FF6B-959C-736D-B51F207CDC4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5B086E03-1997-F314-7938-0FD7401A40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37C90B84-9856-AEA4-7444-29A1074C12E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DFFC921F-C34D-C708-8066-8AC89B0696F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F72FDA02-5E1F-4D73-834C-1898EAC25E7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467B2802-D310-ACBD-EEAB-CCC09C2A324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499335"/>
            <a:ext cx="331855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092C2397-0CB5-503F-442E-6DAB8E87C05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E5A45C12-EEEF-2345-66D5-8A8B7818257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1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E2C7579D-3EE9-3719-D32E-FC9432BFD90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Knowledge-driven Methods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D3E79D05-6BF1-BAD5-94D7-FE60704C603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82" name="矩形 81">
            <a:hlinkClick r:id="rId36" action="ppaction://hlinksldjump"/>
            <a:extLst>
              <a:ext uri="{FF2B5EF4-FFF2-40B4-BE49-F238E27FC236}">
                <a16:creationId xmlns:a16="http://schemas.microsoft.com/office/drawing/2014/main" id="{D2DB7083-4C0D-E3B3-28A9-2761B6606C5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9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A791EC3A-F1BD-3B6A-3332-D1A24172E59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diction-based Methods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C5D3F3AE-E4D4-9AB2-9C7C-4E70A572AE3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9" name="矩形 78">
            <a:hlinkClick r:id="rId37" action="ppaction://hlinksldjump"/>
            <a:extLst>
              <a:ext uri="{FF2B5EF4-FFF2-40B4-BE49-F238E27FC236}">
                <a16:creationId xmlns:a16="http://schemas.microsoft.com/office/drawing/2014/main" id="{962AEEAE-CE2F-72D1-C9F9-72164956238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7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0A797AB0-DD23-6588-C41F-63071962460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441569" y="310850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eneration-based Methods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9B10F138-1CA6-237B-EFA3-EC7704B513D3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矩形 75">
            <a:hlinkClick r:id="rId38" action="ppaction://hlinksldjump"/>
            <a:extLst>
              <a:ext uri="{FF2B5EF4-FFF2-40B4-BE49-F238E27FC236}">
                <a16:creationId xmlns:a16="http://schemas.microsoft.com/office/drawing/2014/main" id="{10DEB4DC-68DC-039A-2096-BFB6F23203F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5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C968C966-9292-F252-4C48-16EF6A8D515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441569" y="264489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08645917-4275-5A78-19DD-E4EEE9801CA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F796B654-04EB-B369-AC0F-50D2E1ED2F85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20E06197-39B0-B8E0-66E1-3589D2BA03C8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4C115094-CEDB-FF33-C202-24B10B00F120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241A2198-99A7-115A-EE94-5871CC05F9D6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28CCFE41-E506-1A2B-9D40-78406555DA47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8490CBE9-8F8E-AB3E-74D2-F1891DC675FD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FEC83AFE-CEE8-D142-1E63-69EC356C3E4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937E5CDD-E192-37CF-8C5D-5BF9694541C2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562790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24539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6761086E-07D3-5733-4C7C-B093B0B977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88F8FE1A-2181-7A1A-BC54-35F35A4FE5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25A110ED-D351-D9FA-93DB-B9AABE56F07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6FE06FEA-57C9-AC81-3685-33206203B05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0BA03B5A-8D4B-F7EC-120B-EF8C1D42267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28D97A69-D613-B141-1756-A8A9BDC8321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AA61C87E-81ED-7B36-2A68-27A8ABEB7AD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0BCB5924-7A8A-78B8-FDD0-B3816C85211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499335"/>
            <a:ext cx="331855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43EC3E34-F81A-2206-DBA6-05457957FCA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37878D25-D01B-1E89-8D5C-7DCBEAB1E58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1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5B870BF4-ED59-890C-1442-464EA6D5D4B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Knowledge-driven Methods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216991EB-EC70-932C-B127-D6BA23BA593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82" name="矩形 81">
            <a:hlinkClick r:id="rId36" action="ppaction://hlinksldjump"/>
            <a:extLst>
              <a:ext uri="{FF2B5EF4-FFF2-40B4-BE49-F238E27FC236}">
                <a16:creationId xmlns:a16="http://schemas.microsoft.com/office/drawing/2014/main" id="{ED6A6C26-9054-9713-C9D4-9A7005E3C4E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9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41FC1E0D-8EC1-4CDC-9F57-E37B186B560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diction-based Methods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0C56088D-B21A-0D33-22A1-38BCAAE4A42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9" name="矩形 78">
            <a:hlinkClick r:id="rId37" action="ppaction://hlinksldjump"/>
            <a:extLst>
              <a:ext uri="{FF2B5EF4-FFF2-40B4-BE49-F238E27FC236}">
                <a16:creationId xmlns:a16="http://schemas.microsoft.com/office/drawing/2014/main" id="{5238873B-CDC7-D851-1B83-3A93A775D8B6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7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58BF0400-3654-4897-E9B2-3563FDD5714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441569" y="310850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eneration-based Methods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11FA10CA-D007-5F47-3F5F-EA2AAD41DE73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0BA117AE-5E24-D4BB-07A1-EEE886E75E5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441569" y="264489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76BCD087-021E-72CA-3C9E-3296CDF1AE6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5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C6D2B571-DA20-45B2-B0EA-2A71D9FE8FF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441569" y="264489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D912B3CB-7E9D-1E77-8801-C0F779A2FFE8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156CAD4E-D6D2-A292-A8F4-131884C7731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810343E1-83E0-ABFC-57CE-F6CE83BC8069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795C3F13-58A1-00C1-7055-1E8773137D4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156F221C-93E6-2100-D29A-708F13B30257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10E702DD-96F8-1165-4BAF-A01CDB43C74D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A09B356B-CBB9-5633-22DB-31B7C62BDF1E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69A51539-99EB-D1AC-90E0-9025203B7493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9041900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73064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B627728F-0689-D760-2FD1-F2BA46D4EB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0D6460E7-2138-D69C-E298-B514663628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958437CF-34DD-4B50-7BA2-B8198D89A62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3FE0564D-98D4-2BED-47FC-4031BC9C38E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87409757-8597-6888-6F6E-E2BD4E1A9D1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D6363416-D8F2-06C6-B918-C706B9839D7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62BCAD08-4E9E-FFA8-9DF1-065B0D30028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4FC25167-43FC-3432-91BA-F0DE5E9192F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499335"/>
            <a:ext cx="331855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E26A4E9D-4881-CF27-EBB9-9DEC63D4A39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6AA626D5-0463-F38E-4B84-E4EBBA1FB19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1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5B92F5E5-EA23-09FD-64C8-D88476A4C1D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Knowledge-driven Methods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A6038B43-D279-080F-E276-A9BCCFE0675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82" name="矩形 81">
            <a:hlinkClick r:id="rId36" action="ppaction://hlinksldjump"/>
            <a:extLst>
              <a:ext uri="{FF2B5EF4-FFF2-40B4-BE49-F238E27FC236}">
                <a16:creationId xmlns:a16="http://schemas.microsoft.com/office/drawing/2014/main" id="{9152A666-1D77-23D1-C47E-5EBAB3903F0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9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61D85823-E9C3-40A4-856E-D9E7067B20E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diction-based Methods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B7F7BAB2-7662-A48B-6BFC-651D2EA4654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44E7D87C-4345-2A8A-8346-80CC6AC7151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441569" y="310850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F5DEC05E-2444-D62B-91AD-07858C1AA0B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7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065B8381-4BA8-0BF4-0857-B8691C066D5E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eneration-based Methods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89657285-0ED4-8437-C204-783E314406E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DDB602FF-11B5-B12C-D924-4E16F663309A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5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AAE75B9E-83E5-1FCE-2753-DD3221E3FD7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441569" y="264489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25236155-8C98-E7F5-2E6E-3403D46AB24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08EBF6C0-29CB-79F0-C775-782C3A85A04A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F7B7347B-9983-8542-DB75-C91C0DDF44DD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EF28EE95-84F4-8383-E0E8-CB1B8AB44B41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EEFB00FE-A8C3-D42B-C17F-603E1077A829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6125720C-FEE3-0CFD-2E2E-2C2D53C66518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2310C83C-843B-8308-DCD0-99C4593D9034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BE49997F-2767-4D16-985B-0B4932811F93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4876560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858212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CA760BAC-4A58-4B32-D6F3-48B95DD0DF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624F14CD-7CD1-CEB4-5602-F04B9D93E3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A3B7D81E-66C8-35B7-81A0-2CDC4FACE12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EF8049F5-268C-EBF6-7AA6-C39471FE8B7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4CDC3F53-5298-FFBB-96F5-CFED741720A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27C453F4-0C27-3EB8-ADCC-B68BAD7B88C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69426BF3-67EC-B8DB-02BD-671CCF3AA9F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F1624F88-B0DC-BC55-C3E8-8240B0DF8E6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499335"/>
            <a:ext cx="331855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289FB8F6-91BF-5E22-5A2B-A174E3D9904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376DDE0D-2D32-87A3-BD9B-21B261804F7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1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3FFAF210-C789-2FD5-A7AA-EE454882B3B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Knowledge-driven Methods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840DDB5A-2AB0-AE6E-0575-7B85E09C9DE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3C0934D0-F0BD-D207-760F-9353A9A90D7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441569" y="357211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3DB89667-BE42-141F-4CB7-C56C53863D0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9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549C8FAF-0972-B0CE-677C-783E0376F50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diction-based Methods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448F9986-9281-BB0F-0049-81D07CDE710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0E9FFCBE-87E9-52B9-AB43-A499379817B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7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502FC02F-1BC4-1D64-788F-11570C656F0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eneration-based Methods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DCDD7212-18BF-31DA-8A28-E41DEBD4393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3EEA9768-E2EA-116A-E9F0-F1F4A4BAE71E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5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5D76DADF-F930-1EB1-8CD6-65ED3CA2612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441569" y="264489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4047A045-6273-CBC8-AB17-7932BA490D1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8883E573-B1E5-FC5D-2DBF-BE3DDEB9D8D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A99B3226-E25B-C126-0DCA-C290A3A0F230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E462B6D2-0BC6-DE7B-F787-4B643A7F4317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90357D57-87E7-6A5B-2515-1F76B863630F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D1C0FFAF-A352-6808-AC56-14DABE754DF8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5DEE1801-47D9-5046-029C-AD3DE6A2F939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141D00F7-55BD-3BC9-D012-DBFEA5CB0FA1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62749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2E07943-BB58-D2F6-30AB-E473E0493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E07943-BB58-D2F6-30AB-E473E0493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Wheeled Robots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9938" y="1825625"/>
            <a:ext cx="7343862" cy="435133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优点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1600" dirty="0"/>
              <a:t>轮式机器人以其高效的移动性而闻名，被广泛应用于物流、仓储和安全检查。 轮式机器人的优点包括结构简单、成本相对较低、高能效以及在平坦表面上快速移动的能力。 这些机器人通常配备了高精度传感器，例如激光雷达和摄像头，能够实现自主导航和环境感知，使其在自动化仓库管理和检查任务中非常有效</a:t>
            </a:r>
            <a:endParaRPr lang="en-US" altLang="zh-CN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缺点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1600" dirty="0"/>
              <a:t>轮式机器人在复杂地形和恶劣环境中，尤其是在不平坦的地面上，活动能力有限。 此外，它们的负载能力和机动性也受到一定限制</a:t>
            </a:r>
            <a:endParaRPr lang="en-US" altLang="zh-CN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品牌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zh-CN" sz="1600" dirty="0"/>
              <a:t>Kiva robots (Kiva Systems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Jackal robot (</a:t>
            </a:r>
            <a:r>
              <a:rPr lang="en-US" sz="1600" dirty="0" err="1"/>
              <a:t>Clearpath</a:t>
            </a:r>
            <a:r>
              <a:rPr lang="en-US" sz="1600" dirty="0"/>
              <a:t> Robotics)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1D932C40-2C9B-B6F5-544B-AF831F4A65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690689"/>
            <a:ext cx="3177965" cy="3795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506043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667624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FE8BC414-B1DF-E69B-B5BD-476B4E4CA9A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7EF69AF5-D00B-5977-797B-1C7ED90AC1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A5B189F1-899B-28B7-B86D-E69D71C3C59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D22D4256-EB44-47E0-BF69-94575D3476C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88D53FCA-FA2C-6EDE-8B44-92B9EC03942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F4D135A6-1D51-2BD4-9EA1-B902392E4D3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92961E73-BD64-DE12-1F86-C0742556C3E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EEACD0D9-381A-DA87-5441-A3D72AAD7DB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499335"/>
            <a:ext cx="331855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0006453C-28E4-05BA-C78E-82959B2417E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AABF7DFE-CFA7-DE0D-A896-4EE35995AC9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41569" y="403572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7A898833-C481-5C9B-FEA8-2603BDE9B77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1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E396B0C5-B56D-A3D7-E79F-3DB0A830E9D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Knowledge-driven Methods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4B10C24B-B203-ED74-8D68-4AF08595A5C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0E769FF7-80CC-AC00-664C-51F36EE316B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9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3BEDE119-959A-DA07-4F23-473843A84C5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ediction-based Methods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AA5C7A5B-4C30-FE89-0F9A-25883DCC2A5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B5E07470-FF15-3281-C10C-80E53FCB783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7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008E088F-3C9D-E5EA-6F31-88B9B453A276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eneration-based Methods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C821CAF5-33F6-F68B-FF21-12A7511842E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9F88DB03-CEF4-EEEC-BE05-B24C1546945A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5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C101CE74-A454-4821-9ED9-1F25ECB2D60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441569" y="264489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935388C2-3448-5156-2919-590AF1F9543E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EB9C1F1E-F4BD-DA69-8D29-D24491A326E2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156CCE65-F55D-E9F1-EEB6-F1F45D1A046E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E72A972E-6935-CDE3-8374-1D885F8CD4D8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5907BE60-24F7-1E4D-5EB8-8177980A8F69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2ABF2D56-45EA-B8B0-8F61-1171E11A5A1B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5ED73C85-FB5E-577F-AEE3-6DEE9BB3DD3C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A1CDDC39-41C8-98E3-DC29-4CF8609265F6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3225033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147712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2A93C073-6AEF-442A-7E32-B8B4ED64F6D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351C147F-87B2-562A-9250-C71B10CD3D7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86622EA1-249E-5176-B6E6-A8E4EDC6B30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516F424A-E5FF-A0A0-46D5-71422ECF56D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4B944C96-3D7E-5C00-773F-4B5347DAE74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3EC9C7EF-DF9A-675A-C911-4C9F687E05E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3A05F598-348D-430B-C697-33B76AD9030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1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D10F0285-896D-014D-2C3E-82FC103A59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285494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im2Real Paradigms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FA83AD84-F4F1-AF67-FD45-79B4FC9BA5F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52E4BA9D-9A57-D2C1-19C7-74CF14EA759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9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DA1C13B9-97A2-C8A2-15BC-6FC6CB63C03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imulated Data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DE9615B1-3F8C-53D2-D3BB-1FE3B01E4F5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2" name="矩形 81">
            <a:hlinkClick r:id="rId36" action="ppaction://hlinksldjump"/>
            <a:extLst>
              <a:ext uri="{FF2B5EF4-FFF2-40B4-BE49-F238E27FC236}">
                <a16:creationId xmlns:a16="http://schemas.microsoft.com/office/drawing/2014/main" id="{23552BE6-C08A-6F36-FB11-E8F637DBC6C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7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D4CC9F2D-9881-9C4A-A128-F0184634B21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al-World Data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437029B2-91B1-C89D-6484-93258379579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9" name="矩形 78">
            <a:hlinkClick r:id="rId37" action="ppaction://hlinksldjump"/>
            <a:extLst>
              <a:ext uri="{FF2B5EF4-FFF2-40B4-BE49-F238E27FC236}">
                <a16:creationId xmlns:a16="http://schemas.microsoft.com/office/drawing/2014/main" id="{99FA1C68-F6F7-7839-C2BD-59C6992F7CC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5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4255A3B7-7CF5-43EE-1DD2-FB73861EEB3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441569" y="310850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B726706E-5987-4ED0-B745-59D4D37FB67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3EC8E668-4EE0-7BDF-A79C-B0386CCA4A1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3B140558-4C87-141F-9C23-D094390BD5BA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E1A360C2-07C1-76FF-ED70-0DE70D85502D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471A32E7-12B4-8A68-C562-E1CCB5E3070C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545A9AE3-882E-F1B4-73F0-6DBC6EF8172D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A2004C53-AE1D-A201-3902-A5E539A003A1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89785511-07D4-ADF0-F9EB-D18B336D3F0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25E4961D-7386-8F92-7C19-BD27D1D7F0BE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5B613B81-C8BB-1973-63EA-7F328EDC954F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90645388-1221-072E-8E90-706619CDB3E8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DCC5EA31-2C63-9381-68F4-16DB4CC3634C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7514154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707849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4B4F348D-9296-972B-346D-9139A73C0AC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F51B1D7D-8B5B-D0C6-13D2-8F24DFD697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FC6EF802-A815-EB46-11D4-F8F3A33AA6D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CF626668-8F00-8D25-4B70-4BEECA82D1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E5F3790F-6597-0188-F24B-D3420557610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0DE4303C-C15D-C1BD-407A-9127F1F8F16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422D760D-1449-8FCC-7732-C562B528CA4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1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8975692D-C315-3984-5D27-5E5BAEF6066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285494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im2Real Paradigms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DF39C1C4-5993-1FF6-5059-A58EEC21346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206744C6-0113-F456-9904-E166E5C6292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9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79CB3212-0274-936C-D511-277A7F73AD1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imulated Data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AC0E9001-0A9F-2388-090B-B029E97A0A8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2" name="矩形 81">
            <a:hlinkClick r:id="rId36" action="ppaction://hlinksldjump"/>
            <a:extLst>
              <a:ext uri="{FF2B5EF4-FFF2-40B4-BE49-F238E27FC236}">
                <a16:creationId xmlns:a16="http://schemas.microsoft.com/office/drawing/2014/main" id="{C04ABBA9-EC07-A399-0500-AA06A7BBAC2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7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D8D0069D-15BE-D3A0-8150-B95BCB3A21D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al-World Data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47F43C49-37C8-1728-DFA2-C25636DDD05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2B77135D-1480-266A-9509-5EF41FF981B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441569" y="310850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E53C9CA2-1A09-CA90-59E9-1CDDC630C91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5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A4957EFC-18F7-D9CD-D0AA-649FDE21644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2E3D3E47-4EC7-956E-5221-10532182D83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8B4756F6-19F4-5095-EC29-EE936CB5AAC5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C6EFAC52-FF9D-CB03-FA21-35E9FF111B7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FC075C13-5543-05BF-8B46-71DDF20B862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D5C7E839-AABE-4FF4-AB58-0C93F598F85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C00542E9-F789-0400-E520-A0D9545B7564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9B93EE4E-1745-6C54-EA37-B4D996C1BC87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EE2C5438-32C7-D105-41B7-E0F8076CC7B3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A9565CB0-01A9-0B3A-253D-9BE1EFDAB5E0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7704F849-9093-6857-9D93-7C349FE5EE4C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90729257-F197-0D0C-78EA-C9DE14D6BAF7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9255042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129672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C5A3F68E-F7CF-D7B6-DD5B-B39E5D2A2B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683C2C60-B71E-1974-D81D-1EBDFCAF91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C4BF9A7C-407C-F4F2-6317-5949FF94AEA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829BFF83-24E7-3650-2AF5-D456ECC3425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DFBBAF9D-9ACA-2FC4-FBBE-6294EBB15F8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AFEB7FCA-EF75-FC9B-9E2A-65A2F2A9E16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CE615148-39AD-F5FB-2D31-4C3C3F22593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1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3AE8A9FE-B860-DE26-30BD-19B23A4CA34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285494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im2Real Paradigms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0DE21DDE-94CB-D00A-D5CC-9835744D641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70D43E88-EC56-2904-E71F-3225504CB5E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9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768636F0-336C-59BD-C832-125C8DA9671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imulated Data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C2F5CD97-9984-6210-3281-042B1246FA3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1143ECC4-4AED-E2FC-DBA4-0B01B20056B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441569" y="357211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F9EA49B1-19E5-6329-3E97-95D20ED4043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7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AC051379-AEE1-58B4-A0C3-93D179E06D9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al-World Data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05CE45DA-604A-6FDB-E9C2-93F8D627220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B1697558-BFB1-9A8C-F7EA-DEB326140819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5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65600CC8-087D-FB68-B6C0-8FA509921F4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9368D678-5E17-3303-3202-A61DC183161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B159DBF8-CCCF-E0BD-0501-88280F2FADF0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E746D50C-E481-3C85-3FEC-5CEA8909C67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A880B8DE-FA7D-7A00-B849-2B3AA1B117C5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AA2E666A-EB72-F6E2-FB97-D87369A7253A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0D2C6FE5-0C51-F4A7-F4C0-4259A4218C01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42C4F9E1-F06F-FD23-F302-0EC86F2F04EF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317211B8-1742-69E6-68C0-C1BB549C104F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3F663B8D-BD50-4EA8-A5D3-1EAD89D6FDD2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6B6418BB-496F-175A-923A-0FF7331CB816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13357CA4-AD05-4A3E-B833-139127E79730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0073290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494125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88E85D08-F8C4-60B2-B61F-5599E0291A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69BB4386-B1C0-15A0-9ADE-ACA14FE426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A48887A7-E8F2-A964-03A9-31AC4BDA7B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C46412F7-8523-5B4C-2B92-4B4A90B2517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5E596996-2D0C-5DCD-78C6-AA4B5C37158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325B885D-203F-6F14-C2FD-89AF92F886B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93760908-711B-113F-8697-761367F9A8F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1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9641FCA3-3C88-BC33-8D2C-89C1ABF70C9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285494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im2Real Paradigms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1F4ED55B-B87C-0C09-66C2-18E1C173337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E55CCE13-5B0B-52C3-67F1-A8693C10AD1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41569" y="403572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D0A962C1-62BA-237E-BD2F-46F436356CD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9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B8C4D98B-2203-3EF8-0496-AD764F23053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imulated Data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A27B62A1-91FE-488B-8D54-56D844253A6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943C3CC7-A26A-C65D-AD1C-C7F03E666FD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7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94248E01-E719-3167-86D8-72141F484FB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al-World Data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4B0FEAD2-82EB-9F8B-98E8-A01C5FB657F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5699C163-6694-CB71-7827-1442B0035CA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5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C97D850B-2C4E-35D6-FDDE-AD8F237111A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9F6BE4ED-584A-CE98-5F06-072673589BA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FDD7074A-20C9-962D-642E-2E6DBF92C63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CC12A1C2-EDF3-519C-268B-061902ADD96B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E34C96A9-1336-59D3-BD14-0A5FBC6AFF1D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D6609A8C-DD6B-77BC-2427-D9B28BB03D2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1397F9D2-957E-FDF0-6C74-B25F1CF8BAB9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EED8E7B0-BF93-EC84-8B2F-1F787840621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F40B2414-F0BE-29FA-B6C1-FCBFC3B423F3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34431C38-C388-A6F9-90D0-E1CDE3BF4ADA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B29ACAC3-00B1-527C-B821-C53021F0E1A7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9EF43CF7-6E92-E420-D69A-6EB4988D0E4D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61879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 25">
            <a:hlinkClick r:id="rId26" action="ppaction://hlinksldjump"/>
            <a:extLst>
              <a:ext uri="{FF2B5EF4-FFF2-40B4-BE49-F238E27FC236}">
                <a16:creationId xmlns:a16="http://schemas.microsoft.com/office/drawing/2014/main" id="{1AC63C2C-213D-6D68-1E5E-10186C51B0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25" name="矩形 24">
            <a:hlinkClick r:id="rId26" action="ppaction://hlinksldjump"/>
            <a:extLst>
              <a:ext uri="{FF2B5EF4-FFF2-40B4-BE49-F238E27FC236}">
                <a16:creationId xmlns:a16="http://schemas.microsoft.com/office/drawing/2014/main" id="{0F254DFE-B317-4D45-61D5-6233EF5220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499335"/>
            <a:ext cx="184826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Biomimetic Robots</a:t>
            </a:r>
          </a:p>
        </p:txBody>
      </p:sp>
      <p:sp>
        <p:nvSpPr>
          <p:cNvPr id="24" name="矩形 23">
            <a:hlinkClick r:id="rId26" action="ppaction://hlinksldjump"/>
            <a:extLst>
              <a:ext uri="{FF2B5EF4-FFF2-40B4-BE49-F238E27FC236}">
                <a16:creationId xmlns:a16="http://schemas.microsoft.com/office/drawing/2014/main" id="{4C6FD917-E813-11D9-C0DA-E9A1CFD0D1B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23" name="矩形 22">
            <a:hlinkClick r:id="rId27" action="ppaction://hlinksldjump"/>
            <a:extLst>
              <a:ext uri="{FF2B5EF4-FFF2-40B4-BE49-F238E27FC236}">
                <a16:creationId xmlns:a16="http://schemas.microsoft.com/office/drawing/2014/main" id="{5644919D-D0B8-C8A3-E814-4603CA384CE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22" name="矩形 21">
            <a:hlinkClick r:id="rId27" action="ppaction://hlinksldjump"/>
            <a:extLst>
              <a:ext uri="{FF2B5EF4-FFF2-40B4-BE49-F238E27FC236}">
                <a16:creationId xmlns:a16="http://schemas.microsoft.com/office/drawing/2014/main" id="{08B36892-AAA2-E724-2788-0E2B378D7A3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03572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umanoid Robots</a:t>
            </a:r>
          </a:p>
        </p:txBody>
      </p:sp>
      <p:sp>
        <p:nvSpPr>
          <p:cNvPr id="21" name="矩形 20">
            <a:hlinkClick r:id="rId27" action="ppaction://hlinksldjump"/>
            <a:extLst>
              <a:ext uri="{FF2B5EF4-FFF2-40B4-BE49-F238E27FC236}">
                <a16:creationId xmlns:a16="http://schemas.microsoft.com/office/drawing/2014/main" id="{39DAA1FF-6571-34DD-20C8-8AA88131297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0" name="矩形 19">
            <a:hlinkClick r:id="rId28" action="ppaction://hlinksldjump"/>
            <a:extLst>
              <a:ext uri="{FF2B5EF4-FFF2-40B4-BE49-F238E27FC236}">
                <a16:creationId xmlns:a16="http://schemas.microsoft.com/office/drawing/2014/main" id="{BA5C7DCE-B6B9-E79B-4E06-485456686C7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19" name="矩形 18">
            <a:hlinkClick r:id="rId28" action="ppaction://hlinksldjump"/>
            <a:extLst>
              <a:ext uri="{FF2B5EF4-FFF2-40B4-BE49-F238E27FC236}">
                <a16:creationId xmlns:a16="http://schemas.microsoft.com/office/drawing/2014/main" id="{C0755044-1AF7-9F2F-CF86-0379584E725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57211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Quadruped Robots</a:t>
            </a:r>
          </a:p>
        </p:txBody>
      </p:sp>
      <p:sp>
        <p:nvSpPr>
          <p:cNvPr id="18" name="矩形 17">
            <a:hlinkClick r:id="rId28" action="ppaction://hlinksldjump"/>
            <a:extLst>
              <a:ext uri="{FF2B5EF4-FFF2-40B4-BE49-F238E27FC236}">
                <a16:creationId xmlns:a16="http://schemas.microsoft.com/office/drawing/2014/main" id="{8B5CE365-C0A0-5C63-A636-305E52BE144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B4338B4-673A-A34C-2252-C1B6F509885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矩形 15">
            <a:hlinkClick r:id="rId29" action="ppaction://hlinksldjump"/>
            <a:extLst>
              <a:ext uri="{FF2B5EF4-FFF2-40B4-BE49-F238E27FC236}">
                <a16:creationId xmlns:a16="http://schemas.microsoft.com/office/drawing/2014/main" id="{76E9C016-8258-691A-D30F-B922D05232B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15" name="矩形 14">
            <a:hlinkClick r:id="rId29" action="ppaction://hlinksldjump"/>
            <a:extLst>
              <a:ext uri="{FF2B5EF4-FFF2-40B4-BE49-F238E27FC236}">
                <a16:creationId xmlns:a16="http://schemas.microsoft.com/office/drawing/2014/main" id="{94E47134-5DA9-41B6-4CAA-8BF42C52CDE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cked Robots</a:t>
            </a:r>
          </a:p>
        </p:txBody>
      </p:sp>
      <p:sp>
        <p:nvSpPr>
          <p:cNvPr id="14" name="矩形 13">
            <a:hlinkClick r:id="rId29" action="ppaction://hlinksldjump"/>
            <a:extLst>
              <a:ext uri="{FF2B5EF4-FFF2-40B4-BE49-F238E27FC236}">
                <a16:creationId xmlns:a16="http://schemas.microsoft.com/office/drawing/2014/main" id="{0CF51150-4513-E10A-E16F-367E5C2A32F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矩形 12">
            <a:hlinkClick r:id="rId30" action="ppaction://hlinksldjump"/>
            <a:extLst>
              <a:ext uri="{FF2B5EF4-FFF2-40B4-BE49-F238E27FC236}">
                <a16:creationId xmlns:a16="http://schemas.microsoft.com/office/drawing/2014/main" id="{AC91F52B-24E6-0C3E-298E-5194B80F85C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</a:t>
            </a:r>
          </a:p>
        </p:txBody>
      </p:sp>
      <p:sp>
        <p:nvSpPr>
          <p:cNvPr id="12" name="矩形 11">
            <a:hlinkClick r:id="rId30" action="ppaction://hlinksldjump"/>
            <a:extLst>
              <a:ext uri="{FF2B5EF4-FFF2-40B4-BE49-F238E27FC236}">
                <a16:creationId xmlns:a16="http://schemas.microsoft.com/office/drawing/2014/main" id="{0D4415DE-B63C-AB83-F7E1-F87451D2126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heeled Robots</a:t>
            </a:r>
          </a:p>
        </p:txBody>
      </p:sp>
      <p:sp>
        <p:nvSpPr>
          <p:cNvPr id="11" name="矩形 10">
            <a:hlinkClick r:id="rId30" action="ppaction://hlinksldjump"/>
            <a:extLst>
              <a:ext uri="{FF2B5EF4-FFF2-40B4-BE49-F238E27FC236}">
                <a16:creationId xmlns:a16="http://schemas.microsoft.com/office/drawing/2014/main" id="{02840010-D46E-D81F-1F08-AD52AE3DCE0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矩形 9">
            <a:hlinkClick r:id="rId31" action="ppaction://hlinksldjump"/>
            <a:extLst>
              <a:ext uri="{FF2B5EF4-FFF2-40B4-BE49-F238E27FC236}">
                <a16:creationId xmlns:a16="http://schemas.microsoft.com/office/drawing/2014/main" id="{B9994698-F559-666E-0F18-04BF2E233FA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9" name="矩形 8">
            <a:hlinkClick r:id="rId31" action="ppaction://hlinksldjump"/>
            <a:extLst>
              <a:ext uri="{FF2B5EF4-FFF2-40B4-BE49-F238E27FC236}">
                <a16:creationId xmlns:a16="http://schemas.microsoft.com/office/drawing/2014/main" id="{8005633B-38E8-9950-1EB6-E97B68C6AEF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xed-base Robots</a:t>
            </a:r>
          </a:p>
        </p:txBody>
      </p:sp>
      <p:sp>
        <p:nvSpPr>
          <p:cNvPr id="8" name="矩形 7">
            <a:hlinkClick r:id="rId31" action="ppaction://hlinksldjump"/>
            <a:extLst>
              <a:ext uri="{FF2B5EF4-FFF2-40B4-BE49-F238E27FC236}">
                <a16:creationId xmlns:a16="http://schemas.microsoft.com/office/drawing/2014/main" id="{D9696847-11D3-08C7-0792-34785611345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矩形 6">
            <a:hlinkClick r:id="rId32" action="ppaction://hlinksldjump"/>
            <a:extLst>
              <a:ext uri="{FF2B5EF4-FFF2-40B4-BE49-F238E27FC236}">
                <a16:creationId xmlns:a16="http://schemas.microsoft.com/office/drawing/2014/main" id="{7750B90E-19DA-B971-8816-E43D024E1BBA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6" name="矩形 5">
            <a:hlinkClick r:id="rId32" action="ppaction://hlinksldjump"/>
            <a:extLst>
              <a:ext uri="{FF2B5EF4-FFF2-40B4-BE49-F238E27FC236}">
                <a16:creationId xmlns:a16="http://schemas.microsoft.com/office/drawing/2014/main" id="{B566E418-124E-3543-D597-88664784BF93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" name="矩形 4">
            <a:hlinkClick r:id="rId32" action="ppaction://hlinksldjump"/>
            <a:extLst>
              <a:ext uri="{FF2B5EF4-FFF2-40B4-BE49-F238E27FC236}">
                <a16:creationId xmlns:a16="http://schemas.microsoft.com/office/drawing/2014/main" id="{70B51F81-4CC9-54E5-CAAD-DCB20069B09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03B4BB7-172F-E46C-1B3F-1B1E28CAC449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Types of Robo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7310355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697345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8666D1E9-BB86-CA5F-EF34-33DC142164D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5C8D502B-E854-BC96-F154-921EA9F03C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C95C214B-C2CD-0DEC-9B35-DFC05053B5B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9E33A69F-23B1-F541-A0CD-62DCA866BDE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FA6E8C75-E43D-4389-6961-6C03782535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C1CFF0C7-2139-39C5-8F09-B5D50D7DE9F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39FEA463-9093-958F-302B-9ABC4836C88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441569" y="4499335"/>
            <a:ext cx="1023369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7CC6BC0E-DC69-6B74-FFF9-05BA24722D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1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BF397B35-B4F4-D447-598B-6623649DDE9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499335"/>
            <a:ext cx="285494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im2Real Paradigms</a:t>
            </a:r>
          </a:p>
        </p:txBody>
      </p:sp>
      <p:sp>
        <p:nvSpPr>
          <p:cNvPr id="85" name="矩形 84">
            <a:hlinkClick r:id="rId34" action="ppaction://hlinksldjump"/>
            <a:extLst>
              <a:ext uri="{FF2B5EF4-FFF2-40B4-BE49-F238E27FC236}">
                <a16:creationId xmlns:a16="http://schemas.microsoft.com/office/drawing/2014/main" id="{BAE92618-614F-E7E0-8270-EBB9F5D2766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4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6291BD2D-793D-334A-ADC8-5BDB213104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9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89CE68F1-A0C4-7408-D37F-D21DB4D9A3A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imulated Data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08DB7B82-A58D-FE11-58F8-5F30ADF4915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9933060E-B5F9-E1C3-58D4-4FC2B45A2E2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7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34A11A05-E7E4-F1E2-BF9D-55EC7107F5E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al-World Data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59D1EDAA-D74E-4415-1EFE-95C3A65B533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619E1823-787F-B14A-C594-7AE67B8597C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5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953A198C-27F6-17D2-7914-98B58E6A331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17AF870D-B759-3487-DBAD-DA3E300D788D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064A1452-360D-C96F-02E0-83490AC751C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1DF9CC5C-C0EF-5DBD-5F26-4B6BACCEA68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63119A11-E407-4AAE-05DA-DD647E68CD6E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A825DA60-A9AF-176C-BD14-4CF40167E5F5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4B404340-73B0-03E6-07D0-22BEF4E87FB6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C5ED257C-11EC-A0DA-F224-EC8E354478CA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6252DF5E-1EEB-CE88-367D-C4767699F787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2FE6BA28-E096-D86E-FF9D-C5B49ECEDBDC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FF055851-D384-1BA1-748E-5F52EE8EB26F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8EA18576-37DC-C04F-20B4-2AC6E39C92D5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5137860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318397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2AF41A8C-0F32-852E-411B-9D12B90FD3A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ACA82E13-C9C7-40FA-54A8-B4EAEE0231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E5F6E654-8762-65CE-F83F-D9EBBAD9B4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0F6DC452-9E43-2A5D-85C0-1840CF98920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94926F8F-D8EA-D822-EA0D-D2B205B53B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xample of 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753F72C3-569D-09EB-8EE6-837D8A2B0A1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BDE69437-AC82-4DB0-D37B-98B2042C47D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ECC7BFE2-AC9E-AB9E-41B7-74E2B693FF9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285494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mitation Learn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14B6E8A8-1FA4-6E4F-85CE-7C2612A700F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2BBC798D-673E-89CD-31CC-8DEA58D6E2A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7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9DC50FB7-E902-BA51-5094-1C98F3EAC16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ep Reinforcement Learning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6725D9FE-3720-539E-5F02-48C93342717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82" name="矩形 81">
            <a:hlinkClick r:id="rId36" action="ppaction://hlinksldjump"/>
            <a:extLst>
              <a:ext uri="{FF2B5EF4-FFF2-40B4-BE49-F238E27FC236}">
                <a16:creationId xmlns:a16="http://schemas.microsoft.com/office/drawing/2014/main" id="{EFF64345-2AFD-A354-CE91-62BC49C750F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5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B2D8D4A3-6510-1349-AC09-4D5FD10F44A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B59FDA08-B85A-A535-13E0-B32289357E2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9BB47900-953E-81AB-CF5D-70A25C33E33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0AEAD32F-06AF-BE64-C264-7676B432CF7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BCC36876-7D47-E2B5-8EBC-363A3F06D945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D6FA4D7E-EA2B-194D-0184-31D3EECC489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8DF4E130-3642-46FD-B261-556E211887F0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8DFE778F-9A00-34EC-DD71-8BE220E8209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6CE7D67C-9DAB-5F5B-EA19-C834185F9CA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AC42CE05-9A6C-B48B-0452-2BAC357C326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BB1EA831-53D2-D90F-78D7-2E5363789E3D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E34C5846-8D45-089F-DB29-F97D09B6DADB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C992BB0F-E383-75D8-2D44-B49E0E5879B9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A7EBCE33-CBD2-F856-4C4C-F0985DDBED3F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F47772DD-CCB3-86E2-2660-5AB2ABBB2DE6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27234B62-D39D-8458-C7C1-58A062E5ABC1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5325319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161147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E7AEA786-1C33-2A58-F0E4-9F27585BEAC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E0C26FBE-3AC8-14DB-F30F-A76E3F95C0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E5BC6884-F182-F9DF-E2C3-95DBF6684CB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C0B1BFEB-05DD-6318-7E83-3B2CC3E0818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F9734402-2FDB-43C0-3900-033DC5EC2DF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xample of 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E693906F-8445-D5C4-7E49-D313C270F30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6AE521ED-13B3-0FE3-5F55-BCFF8F97814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51D1AF60-31B0-9B2A-4742-F63CC0A8219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285494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mitation Learn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B45288D6-9B9F-0AAE-82AF-F3EB872BB34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6DC613CA-C6E1-05E6-37AC-8E6A82AF073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7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543F1A5C-E09B-F1E1-1F1E-2FB4882E1C8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ep Reinforcement Learning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1AACBDFD-263D-7675-D99D-21ACA2719A0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DB0EEE21-E15D-F88A-9D2A-9401AE05E55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441569" y="357211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0B592DB4-875C-CB31-F199-1D6BDF52492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E451A592-3531-E822-C978-934FD949EBC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7BC7B394-40F6-C906-83BD-60B24D7894D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B572B464-AB4F-6901-AEEA-C03FB590174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A725741D-1CB9-C2E6-389C-61513D7865D3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7EC40A00-F5D9-BC75-4107-A91A4CD3B22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B9A06420-6D14-D6A7-5797-524D06FFA9FE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1060C784-45B1-01F5-03AF-EAD0F60F826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7D98F158-0EF0-ED2F-4641-2474FC954DE7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3D80005D-D3D4-9860-35E1-3153B06AFC98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B4099187-A8D5-A369-D182-2510D484108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B33AFC25-8D32-E523-B522-EB13592AEF3D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78833EA4-F9B9-5D06-568B-6DE6DF3D1B1D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9E830AC2-B907-D03E-19A9-9052EAB73B5B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23E2810F-9240-58BB-F561-0E6D7524AD34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7C92633D-D10D-38F9-67D0-77CE8D61F314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4298215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631417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F1717453-D800-0CDE-D3FA-C6B4BB4E89D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1C4A66A0-8ADD-021D-BC6D-6DE5979BF3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8DA97926-EA2C-79D1-F84E-2C98ED8AF0E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AC6AE504-3C86-C547-CA03-EBB56214021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8092FF08-1FEF-4A24-3686-86A3EC4E7C5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xample of 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F28A563B-B44F-40B5-4B8A-5B46A87B9EC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B1701914-2046-6CDE-7879-1BAC1884B6D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6A54F6DB-1717-BE23-4C57-D6D985E73E9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285494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mitation Learn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72266BF7-AB77-9E75-8D10-E9A7FB9DF10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CB4ED5C1-C928-E484-7551-A5206E4655F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41569" y="403572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59F314E0-9D7B-F25F-BA02-2A262DAD6F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C2EB531F-1077-DF54-2293-A1413FA56AD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ep Reinforcement Learning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E7164697-9B46-E8C6-6FCA-9D0BCD55B76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8236FFCA-DC0E-06D1-98D3-42FDED4C5EE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F713D877-06A5-FA61-ADAF-F5A9604244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45DCE923-388B-8095-B2B8-854F1409C11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877A6B29-96A6-DA12-19B4-7A5D35C069A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BD9160FF-77F0-B966-B5E9-18083295F4F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ABA12A55-0721-5458-373C-8E87CD2581C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72A80496-FD9C-14B4-DA4B-3DB29FBA637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CA3F90C8-0CD1-0B44-5786-9689011ADEF8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4F86C3CD-0A7C-D8DB-15FD-52A35D2AF1DB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D4D70AF0-AADC-9587-6A3B-88A2099934DF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3CEE7AD3-C50F-0600-C74B-A3DBD65239B3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FD397CC9-80EE-8156-C4AF-7F70ECF721F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B9100A93-3119-5752-7C60-3A18930132BF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69C86FF7-FFB3-E227-5B0C-FE8B20B8B3CF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D64D88A5-EFBC-8BA8-0B6C-CD29DFF41BDC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0123230A-C144-4C58-0D65-D25BBAC0FB80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593243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305152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4E87EB62-A419-EB54-6567-F5CEB76CFEF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33786493-589D-E472-ADF4-F04FF8EC48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28357367-23BD-CDA3-E09E-2228054EAD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A4DCF4EC-4F39-595E-F51F-E12F14BA403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23A32A1D-7A2E-4ED9-9884-CD8580996F6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xample of embodied control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1D4395EE-EC26-29C0-03DA-15EA20286DE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4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546BAA9D-AC6A-7D4C-7AEA-80AF480D698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441569" y="4499335"/>
            <a:ext cx="1023369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E0B15C4A-AB1C-C680-5E94-AED05F33E33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9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79AD17CE-C4B2-9999-8B13-1423D31000E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499335"/>
            <a:ext cx="285494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mitation Learning</a:t>
            </a:r>
          </a:p>
        </p:txBody>
      </p:sp>
      <p:sp>
        <p:nvSpPr>
          <p:cNvPr id="85" name="矩形 84">
            <a:hlinkClick r:id="rId34" action="ppaction://hlinksldjump"/>
            <a:extLst>
              <a:ext uri="{FF2B5EF4-FFF2-40B4-BE49-F238E27FC236}">
                <a16:creationId xmlns:a16="http://schemas.microsoft.com/office/drawing/2014/main" id="{673FEC04-6A13-4428-B60C-5598AA73F3D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5C39759D-0161-4D89-A40F-24211C72F58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1C07F2B3-3A1F-912C-CCCA-0F8394C4FBC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ep Reinforcement Learning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43318473-9D8E-7D4B-B9D4-9A454FB9939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6F9D1464-BA6B-7608-0433-01AD9E6EF83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06E74F3D-0F16-797F-80B2-99798F14FF9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08C96F86-3C03-BFAB-7BE0-9FD06869AA9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A5F2AD17-9E50-298C-8F6A-10A33BFDA44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AF623C74-B7E3-DC53-381F-77056612041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EB9B3915-26C1-344B-2886-A409BD48050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332D40D0-5649-30BB-C100-0A6DBDFA875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C87AE8D4-D1C1-CFC1-55E5-3595A0DD3C2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351CC73A-1A41-26E6-3992-6ED3F7EB83C5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775DF380-2CFD-CB8D-6D1A-458F069164E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653FD31B-4A1F-AC98-7B8C-4560F9242A6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F0F3B141-34A8-5CA4-D0B3-A5A27FC360CA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0513B826-52A9-FC78-C0EF-37D00C05F77E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9487447B-1119-9C90-8F50-29D711230F72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63803C49-6033-9BD7-F51E-FA1CE386F313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C6196D92-E583-6829-19C6-3036250D62C8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146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F6F0204-D72D-7428-F387-13B33BBA6B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6F0204-D72D-7428-F387-13B33BBA6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Tracked Robots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9112" y="1825625"/>
            <a:ext cx="6714687" cy="4351338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优点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1600" dirty="0"/>
              <a:t>履带式机器人具有强大的越野能力和机动性，在农业、建筑和灾难救援方面展现出潜力。 履带系统提供了更大的地面接触面积，分散了机器人的重量，减少了在泥沙等软地形中陷入的风险。 此外，履带式机器人配备了强大的动力和悬挂系统，以保持在复杂地形上的稳定性和牵引力 。 因此，履带式机器人也被用于敏感领域，如军事领域</a:t>
            </a:r>
            <a:endParaRPr lang="en-US" altLang="zh-CN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缺点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1600" dirty="0"/>
              <a:t>由于履带系统的摩擦力大，履带式机器人通常能效低下。 此外，它们在平坦表面的移动速度比轮式机器人慢，灵活性和机动性也较差</a:t>
            </a:r>
            <a:endParaRPr lang="en-US" altLang="zh-CN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品牌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iRobot’s </a:t>
            </a:r>
            <a:r>
              <a:rPr lang="en-US" sz="1600" dirty="0" err="1"/>
              <a:t>PackBot</a:t>
            </a:r>
            <a:endParaRPr lang="en-US" sz="16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A0E36E6E-F59A-F1B5-522E-A523E11EA6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690688"/>
            <a:ext cx="3703641" cy="4427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07534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162340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3F77D1E8-CDB4-3E4F-D935-1217E5BC8C0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0E2CCEF7-114A-FA49-AE3A-237E0E0596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E8B31D7B-A612-B8F2-2C8D-A5B9B0E5DC7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0FC75EF1-18FC-529D-3485-A85DA2F426A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41569" y="4962946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C8BC05A7-543C-4251-1B4D-F0921FDB6D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1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3DFA372B-1A06-BF12-0112-8F53F125C59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41569" y="4962946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xample of embodied control</a:t>
            </a:r>
          </a:p>
        </p:txBody>
      </p:sp>
      <p:sp>
        <p:nvSpPr>
          <p:cNvPr id="88" name="矩形 87">
            <a:hlinkClick r:id="rId33" action="ppaction://hlinksldjump"/>
            <a:extLst>
              <a:ext uri="{FF2B5EF4-FFF2-40B4-BE49-F238E27FC236}">
                <a16:creationId xmlns:a16="http://schemas.microsoft.com/office/drawing/2014/main" id="{29FAD3DF-9F58-B4B6-A6EB-D851254C66E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4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8674C738-3A3A-E420-BA55-80D04A4C6CE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9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453B01FB-1BAA-86A2-DFB4-0B94803B396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499335"/>
            <a:ext cx="2854949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mitation Learning</a:t>
            </a:r>
          </a:p>
        </p:txBody>
      </p:sp>
      <p:sp>
        <p:nvSpPr>
          <p:cNvPr id="85" name="矩形 84">
            <a:hlinkClick r:id="rId34" action="ppaction://hlinksldjump"/>
            <a:extLst>
              <a:ext uri="{FF2B5EF4-FFF2-40B4-BE49-F238E27FC236}">
                <a16:creationId xmlns:a16="http://schemas.microsoft.com/office/drawing/2014/main" id="{C9D2A4D8-2F76-816B-3A17-B39132ECEE2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235DBF7C-D5A1-D28F-1517-55E05FDFA57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F8622A5E-2AB2-7388-98BB-FBB8FD284AF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ep Reinforcement Learning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4FA699A9-CF5E-B222-BC12-B7F48387B53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FAE73BFE-E320-DC6A-F420-6D82852F1FA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DDD71824-76D6-9C5C-4B84-A097CA4F425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285494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ED87A321-4D6B-B9FF-68E2-9BF5F263450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090BE4F4-55DF-6413-6217-C869F175352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EF42E244-0373-6919-CC6F-6CB1A38FBB75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E7127339-03F8-A96A-2430-809484F2096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6B96C34D-AC40-EC9B-10D4-2943551CDEF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97314725-D12C-A7E1-A6A1-E28B27D33488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20B7F6DB-420F-3333-809B-B015A1D7252D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480635DD-77C2-6A96-6280-D0003A68F2B6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4D4D6C10-A0B7-7FA8-5316-D25769760287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8D69E040-1664-7040-1E0F-6878EA6AE920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D46886B0-BC16-53AB-86DF-62E018DE4F18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DAC77F25-89F7-47E8-1799-EE8A77993167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6ED49C85-559E-548A-4DAC-BB0680B44136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0EEA5AD7-9BDE-88A0-DB40-ED8E3B89ADAE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2797069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140861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矩形 57">
            <a:extLst>
              <a:ext uri="{FF2B5EF4-FFF2-40B4-BE49-F238E27FC236}">
                <a16:creationId xmlns:a16="http://schemas.microsoft.com/office/drawing/2014/main" id="{73EECEC4-D03F-A1F2-58EC-D27463B01CF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357211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7" name="矩形 56">
            <a:hlinkClick r:id="rId20" action="ppaction://hlinksldjump"/>
            <a:extLst>
              <a:ext uri="{FF2B5EF4-FFF2-40B4-BE49-F238E27FC236}">
                <a16:creationId xmlns:a16="http://schemas.microsoft.com/office/drawing/2014/main" id="{563F4DAC-501D-5DC7-C274-175B1F0BFF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3</a:t>
            </a:r>
          </a:p>
        </p:txBody>
      </p:sp>
      <p:sp>
        <p:nvSpPr>
          <p:cNvPr id="56" name="矩形 55">
            <a:hlinkClick r:id="rId20" action="ppaction://hlinksldjump"/>
            <a:extLst>
              <a:ext uri="{FF2B5EF4-FFF2-40B4-BE49-F238E27FC236}">
                <a16:creationId xmlns:a16="http://schemas.microsoft.com/office/drawing/2014/main" id="{AC5C9645-4EA8-689D-6613-C8E37EA8A93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357211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ll Robots in One</a:t>
            </a:r>
          </a:p>
        </p:txBody>
      </p:sp>
      <p:sp>
        <p:nvSpPr>
          <p:cNvPr id="55" name="矩形 54">
            <a:hlinkClick r:id="rId20" action="ppaction://hlinksldjump"/>
            <a:extLst>
              <a:ext uri="{FF2B5EF4-FFF2-40B4-BE49-F238E27FC236}">
                <a16:creationId xmlns:a16="http://schemas.microsoft.com/office/drawing/2014/main" id="{F49304D0-CA4B-4794-4740-476DC1C04E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4" name="矩形 53">
            <a:hlinkClick r:id="rId21" action="ppaction://hlinksldjump"/>
            <a:extLst>
              <a:ext uri="{FF2B5EF4-FFF2-40B4-BE49-F238E27FC236}">
                <a16:creationId xmlns:a16="http://schemas.microsoft.com/office/drawing/2014/main" id="{A61413D6-7EFB-8FB3-D3C3-805FE778577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3</a:t>
            </a:r>
          </a:p>
        </p:txBody>
      </p:sp>
      <p:sp>
        <p:nvSpPr>
          <p:cNvPr id="53" name="矩形 52">
            <a:hlinkClick r:id="rId21" action="ppaction://hlinksldjump"/>
            <a:extLst>
              <a:ext uri="{FF2B5EF4-FFF2-40B4-BE49-F238E27FC236}">
                <a16:creationId xmlns:a16="http://schemas.microsoft.com/office/drawing/2014/main" id="{AE7C2F69-8CB0-B1DD-18DD-B75E00013DA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310850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Control</a:t>
            </a:r>
          </a:p>
        </p:txBody>
      </p:sp>
      <p:sp>
        <p:nvSpPr>
          <p:cNvPr id="52" name="矩形 51">
            <a:hlinkClick r:id="rId21" action="ppaction://hlinksldjump"/>
            <a:extLst>
              <a:ext uri="{FF2B5EF4-FFF2-40B4-BE49-F238E27FC236}">
                <a16:creationId xmlns:a16="http://schemas.microsoft.com/office/drawing/2014/main" id="{B24BB2FB-4FB2-58FC-3D35-1F5107663C4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1" name="矩形 50">
            <a:hlinkClick r:id="rId22" action="ppaction://hlinksldjump"/>
            <a:extLst>
              <a:ext uri="{FF2B5EF4-FFF2-40B4-BE49-F238E27FC236}">
                <a16:creationId xmlns:a16="http://schemas.microsoft.com/office/drawing/2014/main" id="{2C636AD2-3A85-37B7-6295-59F2265DD7D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50" name="矩形 49">
            <a:hlinkClick r:id="rId22" action="ppaction://hlinksldjump"/>
            <a:extLst>
              <a:ext uri="{FF2B5EF4-FFF2-40B4-BE49-F238E27FC236}">
                <a16:creationId xmlns:a16="http://schemas.microsoft.com/office/drawing/2014/main" id="{D973BDDE-5DD5-6B4F-C659-425EEBAF107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64489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 Collection and Training</a:t>
            </a:r>
          </a:p>
        </p:txBody>
      </p:sp>
      <p:sp>
        <p:nvSpPr>
          <p:cNvPr id="49" name="矩形 48">
            <a:hlinkClick r:id="rId22" action="ppaction://hlinksldjump"/>
            <a:extLst>
              <a:ext uri="{FF2B5EF4-FFF2-40B4-BE49-F238E27FC236}">
                <a16:creationId xmlns:a16="http://schemas.microsoft.com/office/drawing/2014/main" id="{1B3FC986-AAE4-E72B-C7C2-3D1CFE85318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8" name="矩形 47">
            <a:hlinkClick r:id="rId23" action="ppaction://hlinksldjump"/>
            <a:extLst>
              <a:ext uri="{FF2B5EF4-FFF2-40B4-BE49-F238E27FC236}">
                <a16:creationId xmlns:a16="http://schemas.microsoft.com/office/drawing/2014/main" id="{A7C2D566-21CC-04FE-D28A-6ED543680B3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3</a:t>
            </a:r>
          </a:p>
        </p:txBody>
      </p:sp>
      <p:sp>
        <p:nvSpPr>
          <p:cNvPr id="47" name="矩形 46">
            <a:hlinkClick r:id="rId23" action="ppaction://hlinksldjump"/>
            <a:extLst>
              <a:ext uri="{FF2B5EF4-FFF2-40B4-BE49-F238E27FC236}">
                <a16:creationId xmlns:a16="http://schemas.microsoft.com/office/drawing/2014/main" id="{68B115ED-DC1D-A54C-62BB-7058867BF80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218128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World Model</a:t>
            </a:r>
          </a:p>
        </p:txBody>
      </p:sp>
      <p:sp>
        <p:nvSpPr>
          <p:cNvPr id="46" name="矩形 45">
            <a:hlinkClick r:id="rId23" action="ppaction://hlinksldjump"/>
            <a:extLst>
              <a:ext uri="{FF2B5EF4-FFF2-40B4-BE49-F238E27FC236}">
                <a16:creationId xmlns:a16="http://schemas.microsoft.com/office/drawing/2014/main" id="{71879A45-0EB2-DBDA-5CAD-276E77B7A16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5" name="矩形 44">
            <a:hlinkClick r:id="rId24" action="ppaction://hlinksldjump"/>
            <a:extLst>
              <a:ext uri="{FF2B5EF4-FFF2-40B4-BE49-F238E27FC236}">
                <a16:creationId xmlns:a16="http://schemas.microsoft.com/office/drawing/2014/main" id="{D019C0E0-F152-64E4-4338-5FC1DAB94D3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44" name="矩形 43">
            <a:hlinkClick r:id="rId24" action="ppaction://hlinksldjump"/>
            <a:extLst>
              <a:ext uri="{FF2B5EF4-FFF2-40B4-BE49-F238E27FC236}">
                <a16:creationId xmlns:a16="http://schemas.microsoft.com/office/drawing/2014/main" id="{B3990D7C-16D7-1E13-3B90-0BCB1C9D44B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1717675"/>
            <a:ext cx="3318559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43" name="矩形 42">
            <a:hlinkClick r:id="rId24" action="ppaction://hlinksldjump"/>
            <a:extLst>
              <a:ext uri="{FF2B5EF4-FFF2-40B4-BE49-F238E27FC236}">
                <a16:creationId xmlns:a16="http://schemas.microsoft.com/office/drawing/2014/main" id="{BEBAC093-B232-9222-2C50-6731CFC2032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2" name="标题 41">
            <a:extLst>
              <a:ext uri="{FF2B5EF4-FFF2-40B4-BE49-F238E27FC236}">
                <a16:creationId xmlns:a16="http://schemas.microsoft.com/office/drawing/2014/main" id="{DCE71299-2869-2BA7-DD6B-A0687EBC6B1D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Steps of Adap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3721352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963696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" name="think-cell data - do not delete" hidden="1">
            <a:extLst>
              <a:ext uri="{FF2B5EF4-FFF2-40B4-BE49-F238E27FC236}">
                <a16:creationId xmlns:a16="http://schemas.microsoft.com/office/drawing/2014/main" id="{976F442D-2859-4FA4-2602-9AB84CA7BA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918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0" imgW="473" imgH="476" progId="TCLayout.ActiveDocument.1">
                  <p:embed/>
                </p:oleObj>
              </mc:Choice>
              <mc:Fallback>
                <p:oleObj name="think-cell 幻灯片" r:id="rId30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矩形 140">
            <a:extLst>
              <a:ext uri="{FF2B5EF4-FFF2-40B4-BE49-F238E27FC236}">
                <a16:creationId xmlns:a16="http://schemas.microsoft.com/office/drawing/2014/main" id="{18337AD1-8BB4-C5F0-E63D-CE37D1CDEF5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40" name="矩形 139">
            <a:hlinkClick r:id="rId32" action="ppaction://hlinksldjump"/>
            <a:extLst>
              <a:ext uri="{FF2B5EF4-FFF2-40B4-BE49-F238E27FC236}">
                <a16:creationId xmlns:a16="http://schemas.microsoft.com/office/drawing/2014/main" id="{2B8D3AC7-A133-D4B5-2E56-68E5562597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5</a:t>
            </a:r>
          </a:p>
        </p:txBody>
      </p:sp>
      <p:sp>
        <p:nvSpPr>
          <p:cNvPr id="139" name="矩形 138">
            <a:hlinkClick r:id="rId32" action="ppaction://hlinksldjump"/>
            <a:extLst>
              <a:ext uri="{FF2B5EF4-FFF2-40B4-BE49-F238E27FC236}">
                <a16:creationId xmlns:a16="http://schemas.microsoft.com/office/drawing/2014/main" id="{3F057068-2C68-AA41-6D5B-22AD056F6B1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4962946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&amp; Future Directions</a:t>
            </a:r>
          </a:p>
        </p:txBody>
      </p:sp>
      <p:sp>
        <p:nvSpPr>
          <p:cNvPr id="138" name="矩形 137">
            <a:hlinkClick r:id="rId32" action="ppaction://hlinksldjump"/>
            <a:extLst>
              <a:ext uri="{FF2B5EF4-FFF2-40B4-BE49-F238E27FC236}">
                <a16:creationId xmlns:a16="http://schemas.microsoft.com/office/drawing/2014/main" id="{491599ED-9A8F-CF3E-B269-50935BAF7CD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37" name="矩形 136">
            <a:hlinkClick r:id="rId33" action="ppaction://hlinksldjump"/>
            <a:extLst>
              <a:ext uri="{FF2B5EF4-FFF2-40B4-BE49-F238E27FC236}">
                <a16:creationId xmlns:a16="http://schemas.microsoft.com/office/drawing/2014/main" id="{3C1F8CDD-14F1-3231-593A-33FF8F23F21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9</a:t>
            </a:r>
          </a:p>
        </p:txBody>
      </p:sp>
      <p:sp>
        <p:nvSpPr>
          <p:cNvPr id="136" name="矩形 135">
            <a:hlinkClick r:id="rId33" action="ppaction://hlinksldjump"/>
            <a:extLst>
              <a:ext uri="{FF2B5EF4-FFF2-40B4-BE49-F238E27FC236}">
                <a16:creationId xmlns:a16="http://schemas.microsoft.com/office/drawing/2014/main" id="{A185468E-D882-D106-530D-622340B3DF3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499335"/>
            <a:ext cx="296395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135" name="矩形 134">
            <a:hlinkClick r:id="rId33" action="ppaction://hlinksldjump"/>
            <a:extLst>
              <a:ext uri="{FF2B5EF4-FFF2-40B4-BE49-F238E27FC236}">
                <a16:creationId xmlns:a16="http://schemas.microsoft.com/office/drawing/2014/main" id="{8EEE38EC-A7E5-8879-7B37-B1E816267A6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34" name="矩形 133">
            <a:hlinkClick r:id="rId34" action="ppaction://hlinksldjump"/>
            <a:extLst>
              <a:ext uri="{FF2B5EF4-FFF2-40B4-BE49-F238E27FC236}">
                <a16:creationId xmlns:a16="http://schemas.microsoft.com/office/drawing/2014/main" id="{9D19231E-C1AC-92D8-C05E-3B17BF7D628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5</a:t>
            </a:r>
          </a:p>
        </p:txBody>
      </p:sp>
      <p:sp>
        <p:nvSpPr>
          <p:cNvPr id="133" name="矩形 132">
            <a:hlinkClick r:id="rId34" action="ppaction://hlinksldjump"/>
            <a:extLst>
              <a:ext uri="{FF2B5EF4-FFF2-40B4-BE49-F238E27FC236}">
                <a16:creationId xmlns:a16="http://schemas.microsoft.com/office/drawing/2014/main" id="{CFED63E6-E8D9-6BD7-BCD4-23EB911C46A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03572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132" name="矩形 131">
            <a:hlinkClick r:id="rId34" action="ppaction://hlinksldjump"/>
            <a:extLst>
              <a:ext uri="{FF2B5EF4-FFF2-40B4-BE49-F238E27FC236}">
                <a16:creationId xmlns:a16="http://schemas.microsoft.com/office/drawing/2014/main" id="{EA0F91D1-0FEA-A401-5725-46CAF7280E3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1" name="矩形 130">
            <a:hlinkClick r:id="rId35" action="ppaction://hlinksldjump"/>
            <a:extLst>
              <a:ext uri="{FF2B5EF4-FFF2-40B4-BE49-F238E27FC236}">
                <a16:creationId xmlns:a16="http://schemas.microsoft.com/office/drawing/2014/main" id="{7124912B-8C8C-9605-FED2-0B7F20DF316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5</a:t>
            </a:r>
          </a:p>
        </p:txBody>
      </p:sp>
      <p:sp>
        <p:nvSpPr>
          <p:cNvPr id="130" name="矩形 129">
            <a:hlinkClick r:id="rId35" action="ppaction://hlinksldjump"/>
            <a:extLst>
              <a:ext uri="{FF2B5EF4-FFF2-40B4-BE49-F238E27FC236}">
                <a16:creationId xmlns:a16="http://schemas.microsoft.com/office/drawing/2014/main" id="{6C098DF7-2FE4-3C38-2E5A-2ABA05D8A9C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129" name="矩形 128">
            <a:hlinkClick r:id="rId35" action="ppaction://hlinksldjump"/>
            <a:extLst>
              <a:ext uri="{FF2B5EF4-FFF2-40B4-BE49-F238E27FC236}">
                <a16:creationId xmlns:a16="http://schemas.microsoft.com/office/drawing/2014/main" id="{DFEE4250-0D52-0962-B180-6CA88CECDDD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8" name="矩形 127">
            <a:hlinkClick r:id="rId36" action="ppaction://hlinksldjump"/>
            <a:extLst>
              <a:ext uri="{FF2B5EF4-FFF2-40B4-BE49-F238E27FC236}">
                <a16:creationId xmlns:a16="http://schemas.microsoft.com/office/drawing/2014/main" id="{82081549-766F-E0E6-F987-8E8DE74CEA3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5</a:t>
            </a:r>
          </a:p>
        </p:txBody>
      </p:sp>
      <p:sp>
        <p:nvSpPr>
          <p:cNvPr id="127" name="矩形 126">
            <a:hlinkClick r:id="rId36" action="ppaction://hlinksldjump"/>
            <a:extLst>
              <a:ext uri="{FF2B5EF4-FFF2-40B4-BE49-F238E27FC236}">
                <a16:creationId xmlns:a16="http://schemas.microsoft.com/office/drawing/2014/main" id="{DB644224-A8AC-84B8-F36D-0D7410F431C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126" name="矩形 125">
            <a:hlinkClick r:id="rId36" action="ppaction://hlinksldjump"/>
            <a:extLst>
              <a:ext uri="{FF2B5EF4-FFF2-40B4-BE49-F238E27FC236}">
                <a16:creationId xmlns:a16="http://schemas.microsoft.com/office/drawing/2014/main" id="{C677E382-DBE5-B126-D141-19AF734EF73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5" name="矩形 124">
            <a:hlinkClick r:id="rId37" action="ppaction://hlinksldjump"/>
            <a:extLst>
              <a:ext uri="{FF2B5EF4-FFF2-40B4-BE49-F238E27FC236}">
                <a16:creationId xmlns:a16="http://schemas.microsoft.com/office/drawing/2014/main" id="{E46355B9-3CC4-1458-A526-D7D8D1930C1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124" name="矩形 123">
            <a:hlinkClick r:id="rId37" action="ppaction://hlinksldjump"/>
            <a:extLst>
              <a:ext uri="{FF2B5EF4-FFF2-40B4-BE49-F238E27FC236}">
                <a16:creationId xmlns:a16="http://schemas.microsoft.com/office/drawing/2014/main" id="{29FD4EC9-71EF-F3F6-A16F-C88B028A409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64489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123" name="矩形 122">
            <a:hlinkClick r:id="rId37" action="ppaction://hlinksldjump"/>
            <a:extLst>
              <a:ext uri="{FF2B5EF4-FFF2-40B4-BE49-F238E27FC236}">
                <a16:creationId xmlns:a16="http://schemas.microsoft.com/office/drawing/2014/main" id="{CA58DD3E-31FD-074B-F097-1C8C9A30F600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2" name="矩形 121">
            <a:hlinkClick r:id="rId38" action="ppaction://hlinksldjump"/>
            <a:extLst>
              <a:ext uri="{FF2B5EF4-FFF2-40B4-BE49-F238E27FC236}">
                <a16:creationId xmlns:a16="http://schemas.microsoft.com/office/drawing/2014/main" id="{BC6D6128-27C5-026B-CE0E-2FB160E49AE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121" name="矩形 120">
            <a:hlinkClick r:id="rId38" action="ppaction://hlinksldjump"/>
            <a:extLst>
              <a:ext uri="{FF2B5EF4-FFF2-40B4-BE49-F238E27FC236}">
                <a16:creationId xmlns:a16="http://schemas.microsoft.com/office/drawing/2014/main" id="{1001EBF6-0CED-A1DC-1EBA-7DE0A6EABFB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218128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120" name="矩形 119">
            <a:hlinkClick r:id="rId38" action="ppaction://hlinksldjump"/>
            <a:extLst>
              <a:ext uri="{FF2B5EF4-FFF2-40B4-BE49-F238E27FC236}">
                <a16:creationId xmlns:a16="http://schemas.microsoft.com/office/drawing/2014/main" id="{2BA64C8D-0B1E-8FA9-0B50-A0A73557E448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9" name="矩形 118">
            <a:hlinkClick r:id="rId39" action="ppaction://hlinksldjump"/>
            <a:extLst>
              <a:ext uri="{FF2B5EF4-FFF2-40B4-BE49-F238E27FC236}">
                <a16:creationId xmlns:a16="http://schemas.microsoft.com/office/drawing/2014/main" id="{9F2EE28E-8AF8-0707-DC57-3476E1E2A4B0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8" name="矩形 117">
            <a:hlinkClick r:id="rId39" action="ppaction://hlinksldjump"/>
            <a:extLst>
              <a:ext uri="{FF2B5EF4-FFF2-40B4-BE49-F238E27FC236}">
                <a16:creationId xmlns:a16="http://schemas.microsoft.com/office/drawing/2014/main" id="{6638C7DC-9212-809F-BCC7-AA996889B98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977959" y="171767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117" name="矩形 116">
            <a:hlinkClick r:id="rId39" action="ppaction://hlinksldjump"/>
            <a:extLst>
              <a:ext uri="{FF2B5EF4-FFF2-40B4-BE49-F238E27FC236}">
                <a16:creationId xmlns:a16="http://schemas.microsoft.com/office/drawing/2014/main" id="{D3D12FAB-9C67-8533-2526-FCAA4DFA58EF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6" name="标题 115">
            <a:extLst>
              <a:ext uri="{FF2B5EF4-FFF2-40B4-BE49-F238E27FC236}">
                <a16:creationId xmlns:a16="http://schemas.microsoft.com/office/drawing/2014/main" id="{1297F9D7-337F-E061-5524-D2F91107DD18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/>
        <p:txBody>
          <a:bodyPr vert="horz"/>
          <a:lstStyle/>
          <a:p>
            <a:r>
              <a:rPr lang="en-US"/>
              <a:t>Tools &amp; Task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1752776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2089273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EC7C5F39-57E3-2394-7B0F-69480F0682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2933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7" imgW="473" imgH="476" progId="TCLayout.ActiveDocument.1">
                  <p:embed/>
                </p:oleObj>
              </mc:Choice>
              <mc:Fallback>
                <p:oleObj name="think-cell 幻灯片" r:id="rId27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矩形 75">
            <a:hlinkClick r:id="rId29" action="ppaction://hlinksldjump"/>
            <a:extLst>
              <a:ext uri="{FF2B5EF4-FFF2-40B4-BE49-F238E27FC236}">
                <a16:creationId xmlns:a16="http://schemas.microsoft.com/office/drawing/2014/main" id="{7999EEF5-6186-94B5-66B0-D9B54188D2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9</a:t>
            </a:r>
          </a:p>
        </p:txBody>
      </p:sp>
      <p:sp>
        <p:nvSpPr>
          <p:cNvPr id="75" name="矩形 74">
            <a:hlinkClick r:id="rId29" action="ppaction://hlinksldjump"/>
            <a:extLst>
              <a:ext uri="{FF2B5EF4-FFF2-40B4-BE49-F238E27FC236}">
                <a16:creationId xmlns:a16="http://schemas.microsoft.com/office/drawing/2014/main" id="{1F70085E-4A6A-FA34-FBAB-7CFAEEA6EB3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4499335"/>
            <a:ext cx="47577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ified Evaluation Benchmark</a:t>
            </a:r>
          </a:p>
        </p:txBody>
      </p:sp>
      <p:sp>
        <p:nvSpPr>
          <p:cNvPr id="74" name="矩形 73">
            <a:hlinkClick r:id="rId29" action="ppaction://hlinksldjump"/>
            <a:extLst>
              <a:ext uri="{FF2B5EF4-FFF2-40B4-BE49-F238E27FC236}">
                <a16:creationId xmlns:a16="http://schemas.microsoft.com/office/drawing/2014/main" id="{F30ADF26-27DA-1A39-69A6-22EE92D479D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3" name="矩形 72">
            <a:hlinkClick r:id="rId30" action="ppaction://hlinksldjump"/>
            <a:extLst>
              <a:ext uri="{FF2B5EF4-FFF2-40B4-BE49-F238E27FC236}">
                <a16:creationId xmlns:a16="http://schemas.microsoft.com/office/drawing/2014/main" id="{3E7A028B-2B60-6BF3-17B9-6326AC45B52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7</a:t>
            </a:r>
          </a:p>
        </p:txBody>
      </p:sp>
      <p:sp>
        <p:nvSpPr>
          <p:cNvPr id="72" name="矩形 71">
            <a:hlinkClick r:id="rId30" action="ppaction://hlinksldjump"/>
            <a:extLst>
              <a:ext uri="{FF2B5EF4-FFF2-40B4-BE49-F238E27FC236}">
                <a16:creationId xmlns:a16="http://schemas.microsoft.com/office/drawing/2014/main" id="{433E0E3B-3C88-DF76-3930-FDF9C13E327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03572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tinual Learning</a:t>
            </a:r>
          </a:p>
        </p:txBody>
      </p:sp>
      <p:sp>
        <p:nvSpPr>
          <p:cNvPr id="71" name="矩形 70">
            <a:hlinkClick r:id="rId30" action="ppaction://hlinksldjump"/>
            <a:extLst>
              <a:ext uri="{FF2B5EF4-FFF2-40B4-BE49-F238E27FC236}">
                <a16:creationId xmlns:a16="http://schemas.microsoft.com/office/drawing/2014/main" id="{EEA0E771-5E78-E599-78D5-B9DCC4CD32A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0" name="矩形 69">
            <a:hlinkClick r:id="rId31" action="ppaction://hlinksldjump"/>
            <a:extLst>
              <a:ext uri="{FF2B5EF4-FFF2-40B4-BE49-F238E27FC236}">
                <a16:creationId xmlns:a16="http://schemas.microsoft.com/office/drawing/2014/main" id="{5021D087-8460-FAA7-E679-878EBDE4C56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5</a:t>
            </a:r>
          </a:p>
        </p:txBody>
      </p:sp>
      <p:sp>
        <p:nvSpPr>
          <p:cNvPr id="69" name="矩形 68">
            <a:hlinkClick r:id="rId31" action="ppaction://hlinksldjump"/>
            <a:extLst>
              <a:ext uri="{FF2B5EF4-FFF2-40B4-BE49-F238E27FC236}">
                <a16:creationId xmlns:a16="http://schemas.microsoft.com/office/drawing/2014/main" id="{617827CA-2C25-CC0B-720E-8503A0E6E16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57211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usal Relation Discovery</a:t>
            </a:r>
          </a:p>
        </p:txBody>
      </p:sp>
      <p:sp>
        <p:nvSpPr>
          <p:cNvPr id="68" name="矩形 67">
            <a:hlinkClick r:id="rId31" action="ppaction://hlinksldjump"/>
            <a:extLst>
              <a:ext uri="{FF2B5EF4-FFF2-40B4-BE49-F238E27FC236}">
                <a16:creationId xmlns:a16="http://schemas.microsoft.com/office/drawing/2014/main" id="{A5B2B999-48CF-FE39-0E1E-265C1594E87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7" name="矩形 66">
            <a:hlinkClick r:id="rId32" action="ppaction://hlinksldjump"/>
            <a:extLst>
              <a:ext uri="{FF2B5EF4-FFF2-40B4-BE49-F238E27FC236}">
                <a16:creationId xmlns:a16="http://schemas.microsoft.com/office/drawing/2014/main" id="{93C40CDE-85C9-DF1E-2A7A-D30472DBBBE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3</a:t>
            </a:r>
          </a:p>
        </p:txBody>
      </p:sp>
      <p:sp>
        <p:nvSpPr>
          <p:cNvPr id="66" name="矩形 65">
            <a:hlinkClick r:id="rId32" action="ppaction://hlinksldjump"/>
            <a:extLst>
              <a:ext uri="{FF2B5EF4-FFF2-40B4-BE49-F238E27FC236}">
                <a16:creationId xmlns:a16="http://schemas.microsoft.com/office/drawing/2014/main" id="{C14E527B-72B4-855F-6121-E9445D9C64B9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ng-Horizon Task Execution</a:t>
            </a:r>
          </a:p>
        </p:txBody>
      </p:sp>
      <p:sp>
        <p:nvSpPr>
          <p:cNvPr id="65" name="矩形 64">
            <a:hlinkClick r:id="rId32" action="ppaction://hlinksldjump"/>
            <a:extLst>
              <a:ext uri="{FF2B5EF4-FFF2-40B4-BE49-F238E27FC236}">
                <a16:creationId xmlns:a16="http://schemas.microsoft.com/office/drawing/2014/main" id="{39F81A1D-64BC-EF3A-9CC6-25B9870175A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4" name="矩形 63">
            <a:hlinkClick r:id="rId33" action="ppaction://hlinksldjump"/>
            <a:extLst>
              <a:ext uri="{FF2B5EF4-FFF2-40B4-BE49-F238E27FC236}">
                <a16:creationId xmlns:a16="http://schemas.microsoft.com/office/drawing/2014/main" id="{3794A666-181C-55AF-3418-2B45EE8F3F4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1</a:t>
            </a:r>
          </a:p>
        </p:txBody>
      </p:sp>
      <p:sp>
        <p:nvSpPr>
          <p:cNvPr id="63" name="矩形 62">
            <a:hlinkClick r:id="rId33" action="ppaction://hlinksldjump"/>
            <a:extLst>
              <a:ext uri="{FF2B5EF4-FFF2-40B4-BE49-F238E27FC236}">
                <a16:creationId xmlns:a16="http://schemas.microsoft.com/office/drawing/2014/main" id="{8D55569F-9D6D-FE86-3210-E2C9F2A88AC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gnition of Complex Environment</a:t>
            </a:r>
          </a:p>
        </p:txBody>
      </p:sp>
      <p:sp>
        <p:nvSpPr>
          <p:cNvPr id="62" name="矩形 61">
            <a:hlinkClick r:id="rId33" action="ppaction://hlinksldjump"/>
            <a:extLst>
              <a:ext uri="{FF2B5EF4-FFF2-40B4-BE49-F238E27FC236}">
                <a16:creationId xmlns:a16="http://schemas.microsoft.com/office/drawing/2014/main" id="{4905FF2C-D02D-7AAD-258F-B23A6A56351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1" name="矩形 60">
            <a:hlinkClick r:id="rId34" action="ppaction://hlinksldjump"/>
            <a:extLst>
              <a:ext uri="{FF2B5EF4-FFF2-40B4-BE49-F238E27FC236}">
                <a16:creationId xmlns:a16="http://schemas.microsoft.com/office/drawing/2014/main" id="{710F4FEF-85BE-A268-E61A-6A36F0B32934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9</a:t>
            </a:r>
          </a:p>
        </p:txBody>
      </p:sp>
      <p:sp>
        <p:nvSpPr>
          <p:cNvPr id="60" name="矩形 59">
            <a:hlinkClick r:id="rId34" action="ppaction://hlinksldjump"/>
            <a:extLst>
              <a:ext uri="{FF2B5EF4-FFF2-40B4-BE49-F238E27FC236}">
                <a16:creationId xmlns:a16="http://schemas.microsoft.com/office/drawing/2014/main" id="{E6893097-B06A-3832-6BE7-46ECFFE7AA5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fficient Utilization of Human Demonstration Data</a:t>
            </a:r>
          </a:p>
        </p:txBody>
      </p:sp>
      <p:sp>
        <p:nvSpPr>
          <p:cNvPr id="59" name="矩形 58">
            <a:hlinkClick r:id="rId34" action="ppaction://hlinksldjump"/>
            <a:extLst>
              <a:ext uri="{FF2B5EF4-FFF2-40B4-BE49-F238E27FC236}">
                <a16:creationId xmlns:a16="http://schemas.microsoft.com/office/drawing/2014/main" id="{2DAA44B7-1835-406A-8DAB-40773B7C5D19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9EF4079A-E2E8-76E2-1D21-9C008B9AA08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7" name="矩形 56">
            <a:hlinkClick r:id="rId35" action="ppaction://hlinksldjump"/>
            <a:extLst>
              <a:ext uri="{FF2B5EF4-FFF2-40B4-BE49-F238E27FC236}">
                <a16:creationId xmlns:a16="http://schemas.microsoft.com/office/drawing/2014/main" id="{E94634EB-EB49-5DFA-064D-68755A72F260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7</a:t>
            </a:r>
          </a:p>
        </p:txBody>
      </p:sp>
      <p:sp>
        <p:nvSpPr>
          <p:cNvPr id="56" name="矩形 55">
            <a:hlinkClick r:id="rId35" action="ppaction://hlinksldjump"/>
            <a:extLst>
              <a:ext uri="{FF2B5EF4-FFF2-40B4-BE49-F238E27FC236}">
                <a16:creationId xmlns:a16="http://schemas.microsoft.com/office/drawing/2014/main" id="{D8F4FC56-4B8A-4CC3-08B7-E70CA6E4EC67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171767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igh-quality Robotic Datasets</a:t>
            </a:r>
          </a:p>
        </p:txBody>
      </p:sp>
      <p:sp>
        <p:nvSpPr>
          <p:cNvPr id="55" name="矩形 54">
            <a:hlinkClick r:id="rId35" action="ppaction://hlinksldjump"/>
            <a:extLst>
              <a:ext uri="{FF2B5EF4-FFF2-40B4-BE49-F238E27FC236}">
                <a16:creationId xmlns:a16="http://schemas.microsoft.com/office/drawing/2014/main" id="{C71D5BAC-1F95-E7E1-6A54-051217E81E87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96138EB0-4754-1079-A70A-7638A71B88AC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/>
        <p:txBody>
          <a:bodyPr vert="horz"/>
          <a:lstStyle/>
          <a:p>
            <a:r>
              <a:rPr lang="en-US"/>
              <a:t>Difficulty of Implementing Embodied Intellig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8063512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339353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hlinkClick r:id="rId26" action="ppaction://hlinksldjump"/>
            <a:extLst>
              <a:ext uri="{FF2B5EF4-FFF2-40B4-BE49-F238E27FC236}">
                <a16:creationId xmlns:a16="http://schemas.microsoft.com/office/drawing/2014/main" id="{33562601-1A36-3AB0-9A0B-B7A9D78E0C5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9</a:t>
            </a:r>
          </a:p>
        </p:txBody>
      </p:sp>
      <p:sp>
        <p:nvSpPr>
          <p:cNvPr id="75" name="矩形 74">
            <a:hlinkClick r:id="rId26" action="ppaction://hlinksldjump"/>
            <a:extLst>
              <a:ext uri="{FF2B5EF4-FFF2-40B4-BE49-F238E27FC236}">
                <a16:creationId xmlns:a16="http://schemas.microsoft.com/office/drawing/2014/main" id="{5C16B189-EC77-E256-38EB-EE80B86D8D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499335"/>
            <a:ext cx="47577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ified Evaluation Benchmark</a:t>
            </a:r>
          </a:p>
        </p:txBody>
      </p:sp>
      <p:sp>
        <p:nvSpPr>
          <p:cNvPr id="74" name="矩形 73">
            <a:hlinkClick r:id="rId26" action="ppaction://hlinksldjump"/>
            <a:extLst>
              <a:ext uri="{FF2B5EF4-FFF2-40B4-BE49-F238E27FC236}">
                <a16:creationId xmlns:a16="http://schemas.microsoft.com/office/drawing/2014/main" id="{8B050581-342C-134D-D96B-0FCAFE8CC36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3" name="矩形 72">
            <a:hlinkClick r:id="rId27" action="ppaction://hlinksldjump"/>
            <a:extLst>
              <a:ext uri="{FF2B5EF4-FFF2-40B4-BE49-F238E27FC236}">
                <a16:creationId xmlns:a16="http://schemas.microsoft.com/office/drawing/2014/main" id="{AC41299F-2C33-CD23-E6F9-1B9C1917FA0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7</a:t>
            </a:r>
          </a:p>
        </p:txBody>
      </p:sp>
      <p:sp>
        <p:nvSpPr>
          <p:cNvPr id="72" name="矩形 71">
            <a:hlinkClick r:id="rId27" action="ppaction://hlinksldjump"/>
            <a:extLst>
              <a:ext uri="{FF2B5EF4-FFF2-40B4-BE49-F238E27FC236}">
                <a16:creationId xmlns:a16="http://schemas.microsoft.com/office/drawing/2014/main" id="{6C783777-42F9-654F-4271-F0AC2561236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03572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tinual Learning</a:t>
            </a:r>
          </a:p>
        </p:txBody>
      </p:sp>
      <p:sp>
        <p:nvSpPr>
          <p:cNvPr id="71" name="矩形 70">
            <a:hlinkClick r:id="rId27" action="ppaction://hlinksldjump"/>
            <a:extLst>
              <a:ext uri="{FF2B5EF4-FFF2-40B4-BE49-F238E27FC236}">
                <a16:creationId xmlns:a16="http://schemas.microsoft.com/office/drawing/2014/main" id="{2A7E7C88-A3AB-C300-4047-AD79EF77724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0" name="矩形 69">
            <a:hlinkClick r:id="rId28" action="ppaction://hlinksldjump"/>
            <a:extLst>
              <a:ext uri="{FF2B5EF4-FFF2-40B4-BE49-F238E27FC236}">
                <a16:creationId xmlns:a16="http://schemas.microsoft.com/office/drawing/2014/main" id="{744648C9-3D45-452A-4ED2-12C994C5FF4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5</a:t>
            </a:r>
          </a:p>
        </p:txBody>
      </p:sp>
      <p:sp>
        <p:nvSpPr>
          <p:cNvPr id="69" name="矩形 68">
            <a:hlinkClick r:id="rId28" action="ppaction://hlinksldjump"/>
            <a:extLst>
              <a:ext uri="{FF2B5EF4-FFF2-40B4-BE49-F238E27FC236}">
                <a16:creationId xmlns:a16="http://schemas.microsoft.com/office/drawing/2014/main" id="{54C4A03A-5706-4B89-5F89-ACE4552F918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57211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usal Relation Discovery</a:t>
            </a:r>
          </a:p>
        </p:txBody>
      </p:sp>
      <p:sp>
        <p:nvSpPr>
          <p:cNvPr id="68" name="矩形 67">
            <a:hlinkClick r:id="rId28" action="ppaction://hlinksldjump"/>
            <a:extLst>
              <a:ext uri="{FF2B5EF4-FFF2-40B4-BE49-F238E27FC236}">
                <a16:creationId xmlns:a16="http://schemas.microsoft.com/office/drawing/2014/main" id="{45FF8E3F-4116-8E9C-2483-F4E8EE152F5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7" name="矩形 66">
            <a:hlinkClick r:id="rId29" action="ppaction://hlinksldjump"/>
            <a:extLst>
              <a:ext uri="{FF2B5EF4-FFF2-40B4-BE49-F238E27FC236}">
                <a16:creationId xmlns:a16="http://schemas.microsoft.com/office/drawing/2014/main" id="{73E050B1-DA28-E377-D4DD-CFC304BE701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3</a:t>
            </a:r>
          </a:p>
        </p:txBody>
      </p:sp>
      <p:sp>
        <p:nvSpPr>
          <p:cNvPr id="66" name="矩形 65">
            <a:hlinkClick r:id="rId29" action="ppaction://hlinksldjump"/>
            <a:extLst>
              <a:ext uri="{FF2B5EF4-FFF2-40B4-BE49-F238E27FC236}">
                <a16:creationId xmlns:a16="http://schemas.microsoft.com/office/drawing/2014/main" id="{9CCA1EE9-1A2A-A252-C54B-57734470EC3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10850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ng-Horizon Task Execution</a:t>
            </a:r>
          </a:p>
        </p:txBody>
      </p:sp>
      <p:sp>
        <p:nvSpPr>
          <p:cNvPr id="65" name="矩形 64">
            <a:hlinkClick r:id="rId29" action="ppaction://hlinksldjump"/>
            <a:extLst>
              <a:ext uri="{FF2B5EF4-FFF2-40B4-BE49-F238E27FC236}">
                <a16:creationId xmlns:a16="http://schemas.microsoft.com/office/drawing/2014/main" id="{2F5950F8-A8EB-A540-C93E-F5C51320FEB9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4" name="矩形 63">
            <a:hlinkClick r:id="rId30" action="ppaction://hlinksldjump"/>
            <a:extLst>
              <a:ext uri="{FF2B5EF4-FFF2-40B4-BE49-F238E27FC236}">
                <a16:creationId xmlns:a16="http://schemas.microsoft.com/office/drawing/2014/main" id="{4C5BEB93-E614-1B8A-73E0-921E5108FB9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1</a:t>
            </a:r>
          </a:p>
        </p:txBody>
      </p:sp>
      <p:sp>
        <p:nvSpPr>
          <p:cNvPr id="63" name="矩形 62">
            <a:hlinkClick r:id="rId30" action="ppaction://hlinksldjump"/>
            <a:extLst>
              <a:ext uri="{FF2B5EF4-FFF2-40B4-BE49-F238E27FC236}">
                <a16:creationId xmlns:a16="http://schemas.microsoft.com/office/drawing/2014/main" id="{77AA489C-FEB0-8B91-B68D-753BA5B04AF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264489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gnition of Complex Environment</a:t>
            </a:r>
          </a:p>
        </p:txBody>
      </p:sp>
      <p:sp>
        <p:nvSpPr>
          <p:cNvPr id="62" name="矩形 61">
            <a:hlinkClick r:id="rId30" action="ppaction://hlinksldjump"/>
            <a:extLst>
              <a:ext uri="{FF2B5EF4-FFF2-40B4-BE49-F238E27FC236}">
                <a16:creationId xmlns:a16="http://schemas.microsoft.com/office/drawing/2014/main" id="{69E53AA5-E822-D001-6F0E-442300FA12C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694D57A9-82F0-4951-40F5-1F84074B77C9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0" name="矩形 59">
            <a:hlinkClick r:id="rId31" action="ppaction://hlinksldjump"/>
            <a:extLst>
              <a:ext uri="{FF2B5EF4-FFF2-40B4-BE49-F238E27FC236}">
                <a16:creationId xmlns:a16="http://schemas.microsoft.com/office/drawing/2014/main" id="{D18C5EB2-5EF9-91A6-739C-B43117F66C9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9</a:t>
            </a:r>
          </a:p>
        </p:txBody>
      </p:sp>
      <p:sp>
        <p:nvSpPr>
          <p:cNvPr id="59" name="矩形 58">
            <a:hlinkClick r:id="rId31" action="ppaction://hlinksldjump"/>
            <a:extLst>
              <a:ext uri="{FF2B5EF4-FFF2-40B4-BE49-F238E27FC236}">
                <a16:creationId xmlns:a16="http://schemas.microsoft.com/office/drawing/2014/main" id="{DD7BB773-CFD0-1D18-377C-507A8849339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fficient Utilization of Human Demonstration Data</a:t>
            </a:r>
          </a:p>
        </p:txBody>
      </p:sp>
      <p:sp>
        <p:nvSpPr>
          <p:cNvPr id="58" name="矩形 57">
            <a:hlinkClick r:id="rId31" action="ppaction://hlinksldjump"/>
            <a:extLst>
              <a:ext uri="{FF2B5EF4-FFF2-40B4-BE49-F238E27FC236}">
                <a16:creationId xmlns:a16="http://schemas.microsoft.com/office/drawing/2014/main" id="{90A7E104-AB9C-2DEE-98B6-CD5EED23B4D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32" action="ppaction://hlinksldjump"/>
            <a:extLst>
              <a:ext uri="{FF2B5EF4-FFF2-40B4-BE49-F238E27FC236}">
                <a16:creationId xmlns:a16="http://schemas.microsoft.com/office/drawing/2014/main" id="{7B8E51B5-CDCA-FD44-FA16-3E3562350CFE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7</a:t>
            </a:r>
          </a:p>
        </p:txBody>
      </p:sp>
      <p:sp>
        <p:nvSpPr>
          <p:cNvPr id="56" name="矩形 55">
            <a:hlinkClick r:id="rId32" action="ppaction://hlinksldjump"/>
            <a:extLst>
              <a:ext uri="{FF2B5EF4-FFF2-40B4-BE49-F238E27FC236}">
                <a16:creationId xmlns:a16="http://schemas.microsoft.com/office/drawing/2014/main" id="{4B38D571-9B5F-ABDB-E224-9A66B815367B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igh-quality Robotic Datasets</a:t>
            </a:r>
          </a:p>
        </p:txBody>
      </p:sp>
      <p:sp>
        <p:nvSpPr>
          <p:cNvPr id="55" name="矩形 54">
            <a:hlinkClick r:id="rId32" action="ppaction://hlinksldjump"/>
            <a:extLst>
              <a:ext uri="{FF2B5EF4-FFF2-40B4-BE49-F238E27FC236}">
                <a16:creationId xmlns:a16="http://schemas.microsoft.com/office/drawing/2014/main" id="{238C902A-1D7E-3FB6-2778-16C70AA850DF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A673ECBA-ED0B-564C-9AF4-CFFC74A7D908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Difficulty of Implementing Embodied Intellig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06926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 25">
            <a:hlinkClick r:id="rId27" action="ppaction://hlinksldjump"/>
            <a:extLst>
              <a:ext uri="{FF2B5EF4-FFF2-40B4-BE49-F238E27FC236}">
                <a16:creationId xmlns:a16="http://schemas.microsoft.com/office/drawing/2014/main" id="{FAA60744-1A00-F08F-A420-C372564026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25" name="矩形 24">
            <a:hlinkClick r:id="rId27" action="ppaction://hlinksldjump"/>
            <a:extLst>
              <a:ext uri="{FF2B5EF4-FFF2-40B4-BE49-F238E27FC236}">
                <a16:creationId xmlns:a16="http://schemas.microsoft.com/office/drawing/2014/main" id="{5925DBEA-97B5-ABF6-16CA-55D6891364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499335"/>
            <a:ext cx="184826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Biomimetic Robots</a:t>
            </a:r>
          </a:p>
        </p:txBody>
      </p:sp>
      <p:sp>
        <p:nvSpPr>
          <p:cNvPr id="24" name="矩形 23">
            <a:hlinkClick r:id="rId27" action="ppaction://hlinksldjump"/>
            <a:extLst>
              <a:ext uri="{FF2B5EF4-FFF2-40B4-BE49-F238E27FC236}">
                <a16:creationId xmlns:a16="http://schemas.microsoft.com/office/drawing/2014/main" id="{26047D9B-05AF-084B-961D-81B3919F539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23" name="矩形 22">
            <a:hlinkClick r:id="rId28" action="ppaction://hlinksldjump"/>
            <a:extLst>
              <a:ext uri="{FF2B5EF4-FFF2-40B4-BE49-F238E27FC236}">
                <a16:creationId xmlns:a16="http://schemas.microsoft.com/office/drawing/2014/main" id="{2A4F397C-206C-40E3-7AA5-C159E2F996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22" name="矩形 21">
            <a:hlinkClick r:id="rId28" action="ppaction://hlinksldjump"/>
            <a:extLst>
              <a:ext uri="{FF2B5EF4-FFF2-40B4-BE49-F238E27FC236}">
                <a16:creationId xmlns:a16="http://schemas.microsoft.com/office/drawing/2014/main" id="{6CCBA2DF-3352-241D-4367-C9858AA2CBB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03572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umanoid Robots</a:t>
            </a:r>
          </a:p>
        </p:txBody>
      </p:sp>
      <p:sp>
        <p:nvSpPr>
          <p:cNvPr id="21" name="矩形 20">
            <a:hlinkClick r:id="rId28" action="ppaction://hlinksldjump"/>
            <a:extLst>
              <a:ext uri="{FF2B5EF4-FFF2-40B4-BE49-F238E27FC236}">
                <a16:creationId xmlns:a16="http://schemas.microsoft.com/office/drawing/2014/main" id="{6D88A8B6-74CD-B40F-DDE4-3D241F55729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AC349758-1B6D-474D-C49E-46D09560758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357211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9" name="矩形 18">
            <a:hlinkClick r:id="rId29" action="ppaction://hlinksldjump"/>
            <a:extLst>
              <a:ext uri="{FF2B5EF4-FFF2-40B4-BE49-F238E27FC236}">
                <a16:creationId xmlns:a16="http://schemas.microsoft.com/office/drawing/2014/main" id="{C063B3EC-61EA-AF6E-62D9-86EE7A73EE8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18" name="矩形 17">
            <a:hlinkClick r:id="rId29" action="ppaction://hlinksldjump"/>
            <a:extLst>
              <a:ext uri="{FF2B5EF4-FFF2-40B4-BE49-F238E27FC236}">
                <a16:creationId xmlns:a16="http://schemas.microsoft.com/office/drawing/2014/main" id="{7E6B11CA-1A3D-037E-3FD8-9BF333F55BF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57211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Quadruped Robots</a:t>
            </a:r>
          </a:p>
        </p:txBody>
      </p:sp>
      <p:sp>
        <p:nvSpPr>
          <p:cNvPr id="17" name="矩形 16">
            <a:hlinkClick r:id="rId29" action="ppaction://hlinksldjump"/>
            <a:extLst>
              <a:ext uri="{FF2B5EF4-FFF2-40B4-BE49-F238E27FC236}">
                <a16:creationId xmlns:a16="http://schemas.microsoft.com/office/drawing/2014/main" id="{F7DC95A4-A8B3-1525-7112-191B35D9DCB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6" name="矩形 15">
            <a:hlinkClick r:id="rId30" action="ppaction://hlinksldjump"/>
            <a:extLst>
              <a:ext uri="{FF2B5EF4-FFF2-40B4-BE49-F238E27FC236}">
                <a16:creationId xmlns:a16="http://schemas.microsoft.com/office/drawing/2014/main" id="{E7AC360D-B87A-51D8-CE26-1AED0124A3D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15" name="矩形 14">
            <a:hlinkClick r:id="rId30" action="ppaction://hlinksldjump"/>
            <a:extLst>
              <a:ext uri="{FF2B5EF4-FFF2-40B4-BE49-F238E27FC236}">
                <a16:creationId xmlns:a16="http://schemas.microsoft.com/office/drawing/2014/main" id="{8BE134BF-753C-4FCA-D069-7B2909AB3EA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cked Robots</a:t>
            </a:r>
          </a:p>
        </p:txBody>
      </p:sp>
      <p:sp>
        <p:nvSpPr>
          <p:cNvPr id="14" name="矩形 13">
            <a:hlinkClick r:id="rId30" action="ppaction://hlinksldjump"/>
            <a:extLst>
              <a:ext uri="{FF2B5EF4-FFF2-40B4-BE49-F238E27FC236}">
                <a16:creationId xmlns:a16="http://schemas.microsoft.com/office/drawing/2014/main" id="{670E86F5-28F3-A42E-DF44-3C49F29A50B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矩形 12">
            <a:hlinkClick r:id="rId31" action="ppaction://hlinksldjump"/>
            <a:extLst>
              <a:ext uri="{FF2B5EF4-FFF2-40B4-BE49-F238E27FC236}">
                <a16:creationId xmlns:a16="http://schemas.microsoft.com/office/drawing/2014/main" id="{631C3636-7BC0-AE98-C2E4-EB0268A2A06F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</a:t>
            </a:r>
          </a:p>
        </p:txBody>
      </p:sp>
      <p:sp>
        <p:nvSpPr>
          <p:cNvPr id="12" name="矩形 11">
            <a:hlinkClick r:id="rId31" action="ppaction://hlinksldjump"/>
            <a:extLst>
              <a:ext uri="{FF2B5EF4-FFF2-40B4-BE49-F238E27FC236}">
                <a16:creationId xmlns:a16="http://schemas.microsoft.com/office/drawing/2014/main" id="{0BA4A693-1021-B3C9-E083-48E1EE7A81B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heeled Robots</a:t>
            </a:r>
          </a:p>
        </p:txBody>
      </p:sp>
      <p:sp>
        <p:nvSpPr>
          <p:cNvPr id="11" name="矩形 10">
            <a:hlinkClick r:id="rId31" action="ppaction://hlinksldjump"/>
            <a:extLst>
              <a:ext uri="{FF2B5EF4-FFF2-40B4-BE49-F238E27FC236}">
                <a16:creationId xmlns:a16="http://schemas.microsoft.com/office/drawing/2014/main" id="{9A5EDE03-A6A4-ED21-30AD-B08BD30B4CC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矩形 9">
            <a:hlinkClick r:id="rId32" action="ppaction://hlinksldjump"/>
            <a:extLst>
              <a:ext uri="{FF2B5EF4-FFF2-40B4-BE49-F238E27FC236}">
                <a16:creationId xmlns:a16="http://schemas.microsoft.com/office/drawing/2014/main" id="{BE46209B-6867-A823-222A-46D8A503E51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9" name="矩形 8">
            <a:hlinkClick r:id="rId32" action="ppaction://hlinksldjump"/>
            <a:extLst>
              <a:ext uri="{FF2B5EF4-FFF2-40B4-BE49-F238E27FC236}">
                <a16:creationId xmlns:a16="http://schemas.microsoft.com/office/drawing/2014/main" id="{81300DEF-31BD-0656-B06F-81E9556FC8C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xed-base Robots</a:t>
            </a:r>
          </a:p>
        </p:txBody>
      </p:sp>
      <p:sp>
        <p:nvSpPr>
          <p:cNvPr id="8" name="矩形 7">
            <a:hlinkClick r:id="rId32" action="ppaction://hlinksldjump"/>
            <a:extLst>
              <a:ext uri="{FF2B5EF4-FFF2-40B4-BE49-F238E27FC236}">
                <a16:creationId xmlns:a16="http://schemas.microsoft.com/office/drawing/2014/main" id="{903EA0BE-54B1-2C1F-5C16-DB89DC63055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矩形 6">
            <a:hlinkClick r:id="rId33" action="ppaction://hlinksldjump"/>
            <a:extLst>
              <a:ext uri="{FF2B5EF4-FFF2-40B4-BE49-F238E27FC236}">
                <a16:creationId xmlns:a16="http://schemas.microsoft.com/office/drawing/2014/main" id="{C117CC0F-39F0-2381-0708-B9632C22CC6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6" name="矩形 5">
            <a:hlinkClick r:id="rId33" action="ppaction://hlinksldjump"/>
            <a:extLst>
              <a:ext uri="{FF2B5EF4-FFF2-40B4-BE49-F238E27FC236}">
                <a16:creationId xmlns:a16="http://schemas.microsoft.com/office/drawing/2014/main" id="{E8A406A9-CA79-A8C3-9DA7-412C6043E1F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" name="矩形 4">
            <a:hlinkClick r:id="rId33" action="ppaction://hlinksldjump"/>
            <a:extLst>
              <a:ext uri="{FF2B5EF4-FFF2-40B4-BE49-F238E27FC236}">
                <a16:creationId xmlns:a16="http://schemas.microsoft.com/office/drawing/2014/main" id="{FFE33334-BA83-28C4-DC44-6A3267046F2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DE7B535-0935-D802-06A6-10847693A410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Types of Robots</a:t>
            </a:r>
          </a:p>
        </p:txBody>
      </p:sp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81D54032-7E9E-087E-C969-BFA28E7832AE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4" imgW="473" imgH="476" progId="TCLayout.ActiveDocument.1">
                  <p:embed/>
                </p:oleObj>
              </mc:Choice>
              <mc:Fallback>
                <p:oleObj name="think-cell 幻灯片" r:id="rId34" imgW="473" imgH="476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D54032-7E9E-087E-C969-BFA28E783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54807635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765748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hlinkClick r:id="rId26" action="ppaction://hlinksldjump"/>
            <a:extLst>
              <a:ext uri="{FF2B5EF4-FFF2-40B4-BE49-F238E27FC236}">
                <a16:creationId xmlns:a16="http://schemas.microsoft.com/office/drawing/2014/main" id="{EC77A669-7152-DC0D-1186-E01B4EF5A9E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9</a:t>
            </a:r>
          </a:p>
        </p:txBody>
      </p:sp>
      <p:sp>
        <p:nvSpPr>
          <p:cNvPr id="75" name="矩形 74">
            <a:hlinkClick r:id="rId26" action="ppaction://hlinksldjump"/>
            <a:extLst>
              <a:ext uri="{FF2B5EF4-FFF2-40B4-BE49-F238E27FC236}">
                <a16:creationId xmlns:a16="http://schemas.microsoft.com/office/drawing/2014/main" id="{DCF3A2B9-1D4B-572F-9811-A34369106D0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499335"/>
            <a:ext cx="47577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ified Evaluation Benchmark</a:t>
            </a:r>
          </a:p>
        </p:txBody>
      </p:sp>
      <p:sp>
        <p:nvSpPr>
          <p:cNvPr id="74" name="矩形 73">
            <a:hlinkClick r:id="rId26" action="ppaction://hlinksldjump"/>
            <a:extLst>
              <a:ext uri="{FF2B5EF4-FFF2-40B4-BE49-F238E27FC236}">
                <a16:creationId xmlns:a16="http://schemas.microsoft.com/office/drawing/2014/main" id="{7FECD934-0262-43F9-6C52-BF25DE0DF47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3" name="矩形 72">
            <a:hlinkClick r:id="rId27" action="ppaction://hlinksldjump"/>
            <a:extLst>
              <a:ext uri="{FF2B5EF4-FFF2-40B4-BE49-F238E27FC236}">
                <a16:creationId xmlns:a16="http://schemas.microsoft.com/office/drawing/2014/main" id="{2CAFE8E5-F732-CC87-E09A-45C0EBAF079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7</a:t>
            </a:r>
          </a:p>
        </p:txBody>
      </p:sp>
      <p:sp>
        <p:nvSpPr>
          <p:cNvPr id="72" name="矩形 71">
            <a:hlinkClick r:id="rId27" action="ppaction://hlinksldjump"/>
            <a:extLst>
              <a:ext uri="{FF2B5EF4-FFF2-40B4-BE49-F238E27FC236}">
                <a16:creationId xmlns:a16="http://schemas.microsoft.com/office/drawing/2014/main" id="{F3B942CF-A630-ED7C-4146-1B86563A4F9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03572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tinual Learning</a:t>
            </a:r>
          </a:p>
        </p:txBody>
      </p:sp>
      <p:sp>
        <p:nvSpPr>
          <p:cNvPr id="71" name="矩形 70">
            <a:hlinkClick r:id="rId27" action="ppaction://hlinksldjump"/>
            <a:extLst>
              <a:ext uri="{FF2B5EF4-FFF2-40B4-BE49-F238E27FC236}">
                <a16:creationId xmlns:a16="http://schemas.microsoft.com/office/drawing/2014/main" id="{6FEE6441-4760-019E-D1AA-249EA9115C8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0" name="矩形 69">
            <a:hlinkClick r:id="rId28" action="ppaction://hlinksldjump"/>
            <a:extLst>
              <a:ext uri="{FF2B5EF4-FFF2-40B4-BE49-F238E27FC236}">
                <a16:creationId xmlns:a16="http://schemas.microsoft.com/office/drawing/2014/main" id="{13FB1CC0-889A-05F1-2C86-D44859DFF81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5</a:t>
            </a:r>
          </a:p>
        </p:txBody>
      </p:sp>
      <p:sp>
        <p:nvSpPr>
          <p:cNvPr id="69" name="矩形 68">
            <a:hlinkClick r:id="rId28" action="ppaction://hlinksldjump"/>
            <a:extLst>
              <a:ext uri="{FF2B5EF4-FFF2-40B4-BE49-F238E27FC236}">
                <a16:creationId xmlns:a16="http://schemas.microsoft.com/office/drawing/2014/main" id="{2299225A-0C59-2A0B-7501-152D80F6947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57211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usal Relation Discovery</a:t>
            </a:r>
          </a:p>
        </p:txBody>
      </p:sp>
      <p:sp>
        <p:nvSpPr>
          <p:cNvPr id="68" name="矩形 67">
            <a:hlinkClick r:id="rId28" action="ppaction://hlinksldjump"/>
            <a:extLst>
              <a:ext uri="{FF2B5EF4-FFF2-40B4-BE49-F238E27FC236}">
                <a16:creationId xmlns:a16="http://schemas.microsoft.com/office/drawing/2014/main" id="{DAE913A8-F984-9157-A7A6-F460BE6C09C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7" name="矩形 66">
            <a:hlinkClick r:id="rId29" action="ppaction://hlinksldjump"/>
            <a:extLst>
              <a:ext uri="{FF2B5EF4-FFF2-40B4-BE49-F238E27FC236}">
                <a16:creationId xmlns:a16="http://schemas.microsoft.com/office/drawing/2014/main" id="{DF2E3D6D-32C9-ED5D-73C8-3A9DD17530A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3</a:t>
            </a:r>
          </a:p>
        </p:txBody>
      </p:sp>
      <p:sp>
        <p:nvSpPr>
          <p:cNvPr id="66" name="矩形 65">
            <a:hlinkClick r:id="rId29" action="ppaction://hlinksldjump"/>
            <a:extLst>
              <a:ext uri="{FF2B5EF4-FFF2-40B4-BE49-F238E27FC236}">
                <a16:creationId xmlns:a16="http://schemas.microsoft.com/office/drawing/2014/main" id="{5C72E2BD-023F-06A9-14A7-F6AA2938233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10850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ng-Horizon Task Execution</a:t>
            </a:r>
          </a:p>
        </p:txBody>
      </p:sp>
      <p:sp>
        <p:nvSpPr>
          <p:cNvPr id="65" name="矩形 64">
            <a:hlinkClick r:id="rId29" action="ppaction://hlinksldjump"/>
            <a:extLst>
              <a:ext uri="{FF2B5EF4-FFF2-40B4-BE49-F238E27FC236}">
                <a16:creationId xmlns:a16="http://schemas.microsoft.com/office/drawing/2014/main" id="{14E93F9A-A83D-95B5-11A2-B7504B275F3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520B16FD-C71D-ABC9-F94F-D9AFF92F440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3" name="矩形 62">
            <a:hlinkClick r:id="rId30" action="ppaction://hlinksldjump"/>
            <a:extLst>
              <a:ext uri="{FF2B5EF4-FFF2-40B4-BE49-F238E27FC236}">
                <a16:creationId xmlns:a16="http://schemas.microsoft.com/office/drawing/2014/main" id="{D982AE6B-0165-8090-8BD7-225CA8D2E95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1</a:t>
            </a:r>
          </a:p>
        </p:txBody>
      </p:sp>
      <p:sp>
        <p:nvSpPr>
          <p:cNvPr id="62" name="矩形 61">
            <a:hlinkClick r:id="rId30" action="ppaction://hlinksldjump"/>
            <a:extLst>
              <a:ext uri="{FF2B5EF4-FFF2-40B4-BE49-F238E27FC236}">
                <a16:creationId xmlns:a16="http://schemas.microsoft.com/office/drawing/2014/main" id="{7D92DB2F-9B09-E5E0-49D5-83FECC4426D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gnition of Complex Environment</a:t>
            </a:r>
          </a:p>
        </p:txBody>
      </p:sp>
      <p:sp>
        <p:nvSpPr>
          <p:cNvPr id="61" name="矩形 60">
            <a:hlinkClick r:id="rId30" action="ppaction://hlinksldjump"/>
            <a:extLst>
              <a:ext uri="{FF2B5EF4-FFF2-40B4-BE49-F238E27FC236}">
                <a16:creationId xmlns:a16="http://schemas.microsoft.com/office/drawing/2014/main" id="{C86FBBB0-7DBF-D54A-A3B4-B40705D2845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矩形 59">
            <a:hlinkClick r:id="rId31" action="ppaction://hlinksldjump"/>
            <a:extLst>
              <a:ext uri="{FF2B5EF4-FFF2-40B4-BE49-F238E27FC236}">
                <a16:creationId xmlns:a16="http://schemas.microsoft.com/office/drawing/2014/main" id="{5F16A9DA-7F75-019F-6CC4-89003569CC14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9</a:t>
            </a:r>
          </a:p>
        </p:txBody>
      </p:sp>
      <p:sp>
        <p:nvSpPr>
          <p:cNvPr id="59" name="矩形 58">
            <a:hlinkClick r:id="rId31" action="ppaction://hlinksldjump"/>
            <a:extLst>
              <a:ext uri="{FF2B5EF4-FFF2-40B4-BE49-F238E27FC236}">
                <a16:creationId xmlns:a16="http://schemas.microsoft.com/office/drawing/2014/main" id="{3FC96AB0-8DE8-AA04-03DE-9BE0113C41A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fficient Utilization of Human Demonstration Data</a:t>
            </a:r>
          </a:p>
        </p:txBody>
      </p:sp>
      <p:sp>
        <p:nvSpPr>
          <p:cNvPr id="58" name="矩形 57">
            <a:hlinkClick r:id="rId31" action="ppaction://hlinksldjump"/>
            <a:extLst>
              <a:ext uri="{FF2B5EF4-FFF2-40B4-BE49-F238E27FC236}">
                <a16:creationId xmlns:a16="http://schemas.microsoft.com/office/drawing/2014/main" id="{D9570B11-435B-99F8-6058-E5E217D64AD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32" action="ppaction://hlinksldjump"/>
            <a:extLst>
              <a:ext uri="{FF2B5EF4-FFF2-40B4-BE49-F238E27FC236}">
                <a16:creationId xmlns:a16="http://schemas.microsoft.com/office/drawing/2014/main" id="{12E7CF07-501C-9DDA-A9E4-8E7E6FA645FF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7</a:t>
            </a:r>
          </a:p>
        </p:txBody>
      </p:sp>
      <p:sp>
        <p:nvSpPr>
          <p:cNvPr id="56" name="矩形 55">
            <a:hlinkClick r:id="rId32" action="ppaction://hlinksldjump"/>
            <a:extLst>
              <a:ext uri="{FF2B5EF4-FFF2-40B4-BE49-F238E27FC236}">
                <a16:creationId xmlns:a16="http://schemas.microsoft.com/office/drawing/2014/main" id="{8CB17689-409F-2888-12F3-0050EAC1296B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igh-quality Robotic Datasets</a:t>
            </a:r>
          </a:p>
        </p:txBody>
      </p:sp>
      <p:sp>
        <p:nvSpPr>
          <p:cNvPr id="55" name="矩形 54">
            <a:hlinkClick r:id="rId32" action="ppaction://hlinksldjump"/>
            <a:extLst>
              <a:ext uri="{FF2B5EF4-FFF2-40B4-BE49-F238E27FC236}">
                <a16:creationId xmlns:a16="http://schemas.microsoft.com/office/drawing/2014/main" id="{7B386990-4F16-1251-8733-7B9ABE6AEE77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B062C5A7-7F99-B665-F2DD-E1048901C201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Difficulty of Implementing Embodied Intellig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0504624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113117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hlinkClick r:id="rId26" action="ppaction://hlinksldjump"/>
            <a:extLst>
              <a:ext uri="{FF2B5EF4-FFF2-40B4-BE49-F238E27FC236}">
                <a16:creationId xmlns:a16="http://schemas.microsoft.com/office/drawing/2014/main" id="{84E6961A-4572-1A13-1F4C-4F1E6B50BA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9</a:t>
            </a:r>
          </a:p>
        </p:txBody>
      </p:sp>
      <p:sp>
        <p:nvSpPr>
          <p:cNvPr id="75" name="矩形 74">
            <a:hlinkClick r:id="rId26" action="ppaction://hlinksldjump"/>
            <a:extLst>
              <a:ext uri="{FF2B5EF4-FFF2-40B4-BE49-F238E27FC236}">
                <a16:creationId xmlns:a16="http://schemas.microsoft.com/office/drawing/2014/main" id="{7A2C5900-7FC9-81ED-4445-03CDAF7DFB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499335"/>
            <a:ext cx="47577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ified Evaluation Benchmark</a:t>
            </a:r>
          </a:p>
        </p:txBody>
      </p:sp>
      <p:sp>
        <p:nvSpPr>
          <p:cNvPr id="74" name="矩形 73">
            <a:hlinkClick r:id="rId26" action="ppaction://hlinksldjump"/>
            <a:extLst>
              <a:ext uri="{FF2B5EF4-FFF2-40B4-BE49-F238E27FC236}">
                <a16:creationId xmlns:a16="http://schemas.microsoft.com/office/drawing/2014/main" id="{8B3D7696-3194-2FB9-B08B-A4B9A772A14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3" name="矩形 72">
            <a:hlinkClick r:id="rId27" action="ppaction://hlinksldjump"/>
            <a:extLst>
              <a:ext uri="{FF2B5EF4-FFF2-40B4-BE49-F238E27FC236}">
                <a16:creationId xmlns:a16="http://schemas.microsoft.com/office/drawing/2014/main" id="{AC379D88-4819-AF55-904C-12EF7A93D43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7</a:t>
            </a:r>
          </a:p>
        </p:txBody>
      </p:sp>
      <p:sp>
        <p:nvSpPr>
          <p:cNvPr id="72" name="矩形 71">
            <a:hlinkClick r:id="rId27" action="ppaction://hlinksldjump"/>
            <a:extLst>
              <a:ext uri="{FF2B5EF4-FFF2-40B4-BE49-F238E27FC236}">
                <a16:creationId xmlns:a16="http://schemas.microsoft.com/office/drawing/2014/main" id="{50353E2F-0613-5A63-EE15-55D5D0807C4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03572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tinual Learning</a:t>
            </a:r>
          </a:p>
        </p:txBody>
      </p:sp>
      <p:sp>
        <p:nvSpPr>
          <p:cNvPr id="71" name="矩形 70">
            <a:hlinkClick r:id="rId27" action="ppaction://hlinksldjump"/>
            <a:extLst>
              <a:ext uri="{FF2B5EF4-FFF2-40B4-BE49-F238E27FC236}">
                <a16:creationId xmlns:a16="http://schemas.microsoft.com/office/drawing/2014/main" id="{AD87D12C-99C5-A55C-9D35-EBAC0AAC60C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0" name="矩形 69">
            <a:hlinkClick r:id="rId28" action="ppaction://hlinksldjump"/>
            <a:extLst>
              <a:ext uri="{FF2B5EF4-FFF2-40B4-BE49-F238E27FC236}">
                <a16:creationId xmlns:a16="http://schemas.microsoft.com/office/drawing/2014/main" id="{214E4E03-4D85-6B2A-4583-EFD537D167E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5</a:t>
            </a:r>
          </a:p>
        </p:txBody>
      </p:sp>
      <p:sp>
        <p:nvSpPr>
          <p:cNvPr id="69" name="矩形 68">
            <a:hlinkClick r:id="rId28" action="ppaction://hlinksldjump"/>
            <a:extLst>
              <a:ext uri="{FF2B5EF4-FFF2-40B4-BE49-F238E27FC236}">
                <a16:creationId xmlns:a16="http://schemas.microsoft.com/office/drawing/2014/main" id="{4311CD17-5D50-267D-296A-C666F3EA78A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357211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usal Relation Discovery</a:t>
            </a:r>
          </a:p>
        </p:txBody>
      </p:sp>
      <p:sp>
        <p:nvSpPr>
          <p:cNvPr id="68" name="矩形 67">
            <a:hlinkClick r:id="rId28" action="ppaction://hlinksldjump"/>
            <a:extLst>
              <a:ext uri="{FF2B5EF4-FFF2-40B4-BE49-F238E27FC236}">
                <a16:creationId xmlns:a16="http://schemas.microsoft.com/office/drawing/2014/main" id="{5BF7153E-42BE-F899-9356-BB878A11BDE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1C415598-C4EF-5BC8-091F-DE9B84BF181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6" name="矩形 65">
            <a:hlinkClick r:id="rId29" action="ppaction://hlinksldjump"/>
            <a:extLst>
              <a:ext uri="{FF2B5EF4-FFF2-40B4-BE49-F238E27FC236}">
                <a16:creationId xmlns:a16="http://schemas.microsoft.com/office/drawing/2014/main" id="{10D54FF3-2958-EBA7-0C42-7FCFC6202D5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3</a:t>
            </a:r>
          </a:p>
        </p:txBody>
      </p:sp>
      <p:sp>
        <p:nvSpPr>
          <p:cNvPr id="65" name="矩形 64">
            <a:hlinkClick r:id="rId29" action="ppaction://hlinksldjump"/>
            <a:extLst>
              <a:ext uri="{FF2B5EF4-FFF2-40B4-BE49-F238E27FC236}">
                <a16:creationId xmlns:a16="http://schemas.microsoft.com/office/drawing/2014/main" id="{75DD2F06-D7DD-FF0C-717A-92D7C279345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ng-Horizon Task Execution</a:t>
            </a:r>
          </a:p>
        </p:txBody>
      </p:sp>
      <p:sp>
        <p:nvSpPr>
          <p:cNvPr id="64" name="矩形 63">
            <a:hlinkClick r:id="rId29" action="ppaction://hlinksldjump"/>
            <a:extLst>
              <a:ext uri="{FF2B5EF4-FFF2-40B4-BE49-F238E27FC236}">
                <a16:creationId xmlns:a16="http://schemas.microsoft.com/office/drawing/2014/main" id="{9D89012C-A94A-505A-F6E0-4A2140B736E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3" name="矩形 62">
            <a:hlinkClick r:id="rId30" action="ppaction://hlinksldjump"/>
            <a:extLst>
              <a:ext uri="{FF2B5EF4-FFF2-40B4-BE49-F238E27FC236}">
                <a16:creationId xmlns:a16="http://schemas.microsoft.com/office/drawing/2014/main" id="{599FEE3C-27F0-0783-98C1-E2386602014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1</a:t>
            </a:r>
          </a:p>
        </p:txBody>
      </p:sp>
      <p:sp>
        <p:nvSpPr>
          <p:cNvPr id="62" name="矩形 61">
            <a:hlinkClick r:id="rId30" action="ppaction://hlinksldjump"/>
            <a:extLst>
              <a:ext uri="{FF2B5EF4-FFF2-40B4-BE49-F238E27FC236}">
                <a16:creationId xmlns:a16="http://schemas.microsoft.com/office/drawing/2014/main" id="{011C96B1-2285-0AAD-D2C3-7846CC56A43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gnition of Complex Environment</a:t>
            </a:r>
          </a:p>
        </p:txBody>
      </p:sp>
      <p:sp>
        <p:nvSpPr>
          <p:cNvPr id="61" name="矩形 60">
            <a:hlinkClick r:id="rId30" action="ppaction://hlinksldjump"/>
            <a:extLst>
              <a:ext uri="{FF2B5EF4-FFF2-40B4-BE49-F238E27FC236}">
                <a16:creationId xmlns:a16="http://schemas.microsoft.com/office/drawing/2014/main" id="{DF0BB0B6-A2B8-3F49-0AC0-5C717193342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矩形 59">
            <a:hlinkClick r:id="rId31" action="ppaction://hlinksldjump"/>
            <a:extLst>
              <a:ext uri="{FF2B5EF4-FFF2-40B4-BE49-F238E27FC236}">
                <a16:creationId xmlns:a16="http://schemas.microsoft.com/office/drawing/2014/main" id="{A0109E99-2C78-3D40-92A5-CF2DD827F8D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9</a:t>
            </a:r>
          </a:p>
        </p:txBody>
      </p:sp>
      <p:sp>
        <p:nvSpPr>
          <p:cNvPr id="59" name="矩形 58">
            <a:hlinkClick r:id="rId31" action="ppaction://hlinksldjump"/>
            <a:extLst>
              <a:ext uri="{FF2B5EF4-FFF2-40B4-BE49-F238E27FC236}">
                <a16:creationId xmlns:a16="http://schemas.microsoft.com/office/drawing/2014/main" id="{245E45DF-0B68-D5C7-3E5D-676C1B56258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fficient Utilization of Human Demonstration Data</a:t>
            </a:r>
          </a:p>
        </p:txBody>
      </p:sp>
      <p:sp>
        <p:nvSpPr>
          <p:cNvPr id="58" name="矩形 57">
            <a:hlinkClick r:id="rId31" action="ppaction://hlinksldjump"/>
            <a:extLst>
              <a:ext uri="{FF2B5EF4-FFF2-40B4-BE49-F238E27FC236}">
                <a16:creationId xmlns:a16="http://schemas.microsoft.com/office/drawing/2014/main" id="{6C72A23A-853C-D0BE-CA6A-F8837F88FCE6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32" action="ppaction://hlinksldjump"/>
            <a:extLst>
              <a:ext uri="{FF2B5EF4-FFF2-40B4-BE49-F238E27FC236}">
                <a16:creationId xmlns:a16="http://schemas.microsoft.com/office/drawing/2014/main" id="{5844DD33-7E25-F45D-A003-E6658641CEA3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7</a:t>
            </a:r>
          </a:p>
        </p:txBody>
      </p:sp>
      <p:sp>
        <p:nvSpPr>
          <p:cNvPr id="56" name="矩形 55">
            <a:hlinkClick r:id="rId32" action="ppaction://hlinksldjump"/>
            <a:extLst>
              <a:ext uri="{FF2B5EF4-FFF2-40B4-BE49-F238E27FC236}">
                <a16:creationId xmlns:a16="http://schemas.microsoft.com/office/drawing/2014/main" id="{1A3F1BDF-0931-62DE-09C5-AB59D3F5974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igh-quality Robotic Datasets</a:t>
            </a:r>
          </a:p>
        </p:txBody>
      </p:sp>
      <p:sp>
        <p:nvSpPr>
          <p:cNvPr id="55" name="矩形 54">
            <a:hlinkClick r:id="rId32" action="ppaction://hlinksldjump"/>
            <a:extLst>
              <a:ext uri="{FF2B5EF4-FFF2-40B4-BE49-F238E27FC236}">
                <a16:creationId xmlns:a16="http://schemas.microsoft.com/office/drawing/2014/main" id="{42A6ECDE-FB43-1F04-3D16-2BCCC11922EE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50DE594E-7FC0-3826-6ED0-D3485EE56352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Difficulty of Implementing Embodied Intellig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502343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282587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hlinkClick r:id="rId26" action="ppaction://hlinksldjump"/>
            <a:extLst>
              <a:ext uri="{FF2B5EF4-FFF2-40B4-BE49-F238E27FC236}">
                <a16:creationId xmlns:a16="http://schemas.microsoft.com/office/drawing/2014/main" id="{4E0BB6A6-B303-15CF-C842-0E0541F875B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9</a:t>
            </a:r>
          </a:p>
        </p:txBody>
      </p:sp>
      <p:sp>
        <p:nvSpPr>
          <p:cNvPr id="75" name="矩形 74">
            <a:hlinkClick r:id="rId26" action="ppaction://hlinksldjump"/>
            <a:extLst>
              <a:ext uri="{FF2B5EF4-FFF2-40B4-BE49-F238E27FC236}">
                <a16:creationId xmlns:a16="http://schemas.microsoft.com/office/drawing/2014/main" id="{D55C1F62-727A-F495-D9D6-CC2F2F60A2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499335"/>
            <a:ext cx="47577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ified Evaluation Benchmark</a:t>
            </a:r>
          </a:p>
        </p:txBody>
      </p:sp>
      <p:sp>
        <p:nvSpPr>
          <p:cNvPr id="74" name="矩形 73">
            <a:hlinkClick r:id="rId26" action="ppaction://hlinksldjump"/>
            <a:extLst>
              <a:ext uri="{FF2B5EF4-FFF2-40B4-BE49-F238E27FC236}">
                <a16:creationId xmlns:a16="http://schemas.microsoft.com/office/drawing/2014/main" id="{FF08AC6C-B521-6C8B-D1A6-D9B4CA99A83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3" name="矩形 72">
            <a:hlinkClick r:id="rId27" action="ppaction://hlinksldjump"/>
            <a:extLst>
              <a:ext uri="{FF2B5EF4-FFF2-40B4-BE49-F238E27FC236}">
                <a16:creationId xmlns:a16="http://schemas.microsoft.com/office/drawing/2014/main" id="{6B5E7A8A-280A-4922-D483-49EC1E8784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7</a:t>
            </a:r>
          </a:p>
        </p:txBody>
      </p:sp>
      <p:sp>
        <p:nvSpPr>
          <p:cNvPr id="72" name="矩形 71">
            <a:hlinkClick r:id="rId27" action="ppaction://hlinksldjump"/>
            <a:extLst>
              <a:ext uri="{FF2B5EF4-FFF2-40B4-BE49-F238E27FC236}">
                <a16:creationId xmlns:a16="http://schemas.microsoft.com/office/drawing/2014/main" id="{55E461A9-6A48-809C-CDB0-113C9E0BA13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03572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tinual Learning</a:t>
            </a:r>
          </a:p>
        </p:txBody>
      </p:sp>
      <p:sp>
        <p:nvSpPr>
          <p:cNvPr id="71" name="矩形 70">
            <a:hlinkClick r:id="rId27" action="ppaction://hlinksldjump"/>
            <a:extLst>
              <a:ext uri="{FF2B5EF4-FFF2-40B4-BE49-F238E27FC236}">
                <a16:creationId xmlns:a16="http://schemas.microsoft.com/office/drawing/2014/main" id="{30FAFE1D-1B52-C9A0-D566-13ACB8D6E12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32D7B0B6-3352-E764-000F-4F672167A6E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357211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9" name="矩形 68">
            <a:hlinkClick r:id="rId28" action="ppaction://hlinksldjump"/>
            <a:extLst>
              <a:ext uri="{FF2B5EF4-FFF2-40B4-BE49-F238E27FC236}">
                <a16:creationId xmlns:a16="http://schemas.microsoft.com/office/drawing/2014/main" id="{8D5E9426-7740-C9E8-D7BF-62FE99C24FB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5</a:t>
            </a:r>
          </a:p>
        </p:txBody>
      </p:sp>
      <p:sp>
        <p:nvSpPr>
          <p:cNvPr id="68" name="矩形 67">
            <a:hlinkClick r:id="rId28" action="ppaction://hlinksldjump"/>
            <a:extLst>
              <a:ext uri="{FF2B5EF4-FFF2-40B4-BE49-F238E27FC236}">
                <a16:creationId xmlns:a16="http://schemas.microsoft.com/office/drawing/2014/main" id="{19278FA7-3B20-080A-002B-83BC7D2F8520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57211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usal Relation Discovery</a:t>
            </a:r>
          </a:p>
        </p:txBody>
      </p:sp>
      <p:sp>
        <p:nvSpPr>
          <p:cNvPr id="67" name="矩形 66">
            <a:hlinkClick r:id="rId28" action="ppaction://hlinksldjump"/>
            <a:extLst>
              <a:ext uri="{FF2B5EF4-FFF2-40B4-BE49-F238E27FC236}">
                <a16:creationId xmlns:a16="http://schemas.microsoft.com/office/drawing/2014/main" id="{3C7D4F2B-9886-B728-8EBF-5392C208CD9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6" name="矩形 65">
            <a:hlinkClick r:id="rId29" action="ppaction://hlinksldjump"/>
            <a:extLst>
              <a:ext uri="{FF2B5EF4-FFF2-40B4-BE49-F238E27FC236}">
                <a16:creationId xmlns:a16="http://schemas.microsoft.com/office/drawing/2014/main" id="{24AB4922-A030-4D10-DF4E-89D629F6224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3</a:t>
            </a:r>
          </a:p>
        </p:txBody>
      </p:sp>
      <p:sp>
        <p:nvSpPr>
          <p:cNvPr id="65" name="矩形 64">
            <a:hlinkClick r:id="rId29" action="ppaction://hlinksldjump"/>
            <a:extLst>
              <a:ext uri="{FF2B5EF4-FFF2-40B4-BE49-F238E27FC236}">
                <a16:creationId xmlns:a16="http://schemas.microsoft.com/office/drawing/2014/main" id="{5DD66EE2-DB7A-8332-7A45-C4F8FE92D90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ng-Horizon Task Execution</a:t>
            </a:r>
          </a:p>
        </p:txBody>
      </p:sp>
      <p:sp>
        <p:nvSpPr>
          <p:cNvPr id="64" name="矩形 63">
            <a:hlinkClick r:id="rId29" action="ppaction://hlinksldjump"/>
            <a:extLst>
              <a:ext uri="{FF2B5EF4-FFF2-40B4-BE49-F238E27FC236}">
                <a16:creationId xmlns:a16="http://schemas.microsoft.com/office/drawing/2014/main" id="{B40026DC-230F-41D6-B5CD-9F20C11919B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3" name="矩形 62">
            <a:hlinkClick r:id="rId30" action="ppaction://hlinksldjump"/>
            <a:extLst>
              <a:ext uri="{FF2B5EF4-FFF2-40B4-BE49-F238E27FC236}">
                <a16:creationId xmlns:a16="http://schemas.microsoft.com/office/drawing/2014/main" id="{A1158C23-E0E7-5811-7AD8-8B130E630BE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1</a:t>
            </a:r>
          </a:p>
        </p:txBody>
      </p:sp>
      <p:sp>
        <p:nvSpPr>
          <p:cNvPr id="62" name="矩形 61">
            <a:hlinkClick r:id="rId30" action="ppaction://hlinksldjump"/>
            <a:extLst>
              <a:ext uri="{FF2B5EF4-FFF2-40B4-BE49-F238E27FC236}">
                <a16:creationId xmlns:a16="http://schemas.microsoft.com/office/drawing/2014/main" id="{7F343500-8BBF-7383-BDA3-C38C09368F6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gnition of Complex Environment</a:t>
            </a:r>
          </a:p>
        </p:txBody>
      </p:sp>
      <p:sp>
        <p:nvSpPr>
          <p:cNvPr id="61" name="矩形 60">
            <a:hlinkClick r:id="rId30" action="ppaction://hlinksldjump"/>
            <a:extLst>
              <a:ext uri="{FF2B5EF4-FFF2-40B4-BE49-F238E27FC236}">
                <a16:creationId xmlns:a16="http://schemas.microsoft.com/office/drawing/2014/main" id="{ACCCCE7B-9637-830B-A56B-0457D47896B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矩形 59">
            <a:hlinkClick r:id="rId31" action="ppaction://hlinksldjump"/>
            <a:extLst>
              <a:ext uri="{FF2B5EF4-FFF2-40B4-BE49-F238E27FC236}">
                <a16:creationId xmlns:a16="http://schemas.microsoft.com/office/drawing/2014/main" id="{A8979BD3-9F31-6D13-1855-2B2F8805E3B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9</a:t>
            </a:r>
          </a:p>
        </p:txBody>
      </p:sp>
      <p:sp>
        <p:nvSpPr>
          <p:cNvPr id="59" name="矩形 58">
            <a:hlinkClick r:id="rId31" action="ppaction://hlinksldjump"/>
            <a:extLst>
              <a:ext uri="{FF2B5EF4-FFF2-40B4-BE49-F238E27FC236}">
                <a16:creationId xmlns:a16="http://schemas.microsoft.com/office/drawing/2014/main" id="{0DFBA3EF-EE00-B791-351A-6F7560028D44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fficient Utilization of Human Demonstration Data</a:t>
            </a:r>
          </a:p>
        </p:txBody>
      </p:sp>
      <p:sp>
        <p:nvSpPr>
          <p:cNvPr id="58" name="矩形 57">
            <a:hlinkClick r:id="rId31" action="ppaction://hlinksldjump"/>
            <a:extLst>
              <a:ext uri="{FF2B5EF4-FFF2-40B4-BE49-F238E27FC236}">
                <a16:creationId xmlns:a16="http://schemas.microsoft.com/office/drawing/2014/main" id="{B0804213-853D-9F61-3230-506AE2368728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32" action="ppaction://hlinksldjump"/>
            <a:extLst>
              <a:ext uri="{FF2B5EF4-FFF2-40B4-BE49-F238E27FC236}">
                <a16:creationId xmlns:a16="http://schemas.microsoft.com/office/drawing/2014/main" id="{059A8A47-270C-5D19-28CE-F94742DEBE3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7</a:t>
            </a:r>
          </a:p>
        </p:txBody>
      </p:sp>
      <p:sp>
        <p:nvSpPr>
          <p:cNvPr id="56" name="矩形 55">
            <a:hlinkClick r:id="rId32" action="ppaction://hlinksldjump"/>
            <a:extLst>
              <a:ext uri="{FF2B5EF4-FFF2-40B4-BE49-F238E27FC236}">
                <a16:creationId xmlns:a16="http://schemas.microsoft.com/office/drawing/2014/main" id="{7AE0E06F-C596-7480-3D55-D1BFAC7CFB2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igh-quality Robotic Datasets</a:t>
            </a:r>
          </a:p>
        </p:txBody>
      </p:sp>
      <p:sp>
        <p:nvSpPr>
          <p:cNvPr id="55" name="矩形 54">
            <a:hlinkClick r:id="rId32" action="ppaction://hlinksldjump"/>
            <a:extLst>
              <a:ext uri="{FF2B5EF4-FFF2-40B4-BE49-F238E27FC236}">
                <a16:creationId xmlns:a16="http://schemas.microsoft.com/office/drawing/2014/main" id="{2AF59251-FD29-644A-7A8A-A1AF0A82DB94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94B4EC23-1108-9ED7-3E84-A9D762CDDF99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Difficulty of Implementing Embodied Intellig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486662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155354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hlinkClick r:id="rId26" action="ppaction://hlinksldjump"/>
            <a:extLst>
              <a:ext uri="{FF2B5EF4-FFF2-40B4-BE49-F238E27FC236}">
                <a16:creationId xmlns:a16="http://schemas.microsoft.com/office/drawing/2014/main" id="{5D3092C2-9A42-FC9F-9FF3-16CB0CEDFBF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9</a:t>
            </a:r>
          </a:p>
        </p:txBody>
      </p:sp>
      <p:sp>
        <p:nvSpPr>
          <p:cNvPr id="75" name="矩形 74">
            <a:hlinkClick r:id="rId26" action="ppaction://hlinksldjump"/>
            <a:extLst>
              <a:ext uri="{FF2B5EF4-FFF2-40B4-BE49-F238E27FC236}">
                <a16:creationId xmlns:a16="http://schemas.microsoft.com/office/drawing/2014/main" id="{7DFC8E6F-F1D0-B71C-6C2A-7DE67A9B03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499335"/>
            <a:ext cx="47577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ified Evaluation Benchmark</a:t>
            </a:r>
          </a:p>
        </p:txBody>
      </p:sp>
      <p:sp>
        <p:nvSpPr>
          <p:cNvPr id="74" name="矩形 73">
            <a:hlinkClick r:id="rId26" action="ppaction://hlinksldjump"/>
            <a:extLst>
              <a:ext uri="{FF2B5EF4-FFF2-40B4-BE49-F238E27FC236}">
                <a16:creationId xmlns:a16="http://schemas.microsoft.com/office/drawing/2014/main" id="{5B928A5A-01D7-A350-359A-9524597FF49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D3F7040B-7D30-DF6F-5213-9175DFD360B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403572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2" name="矩形 71">
            <a:hlinkClick r:id="rId27" action="ppaction://hlinksldjump"/>
            <a:extLst>
              <a:ext uri="{FF2B5EF4-FFF2-40B4-BE49-F238E27FC236}">
                <a16:creationId xmlns:a16="http://schemas.microsoft.com/office/drawing/2014/main" id="{CE1B4FC9-A42E-20EF-680E-664C5B7F06E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7</a:t>
            </a:r>
          </a:p>
        </p:txBody>
      </p:sp>
      <p:sp>
        <p:nvSpPr>
          <p:cNvPr id="71" name="矩形 70">
            <a:hlinkClick r:id="rId27" action="ppaction://hlinksldjump"/>
            <a:extLst>
              <a:ext uri="{FF2B5EF4-FFF2-40B4-BE49-F238E27FC236}">
                <a16:creationId xmlns:a16="http://schemas.microsoft.com/office/drawing/2014/main" id="{87EB3DC8-004E-5771-8909-C9C212D6034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03572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tinual Learning</a:t>
            </a:r>
          </a:p>
        </p:txBody>
      </p:sp>
      <p:sp>
        <p:nvSpPr>
          <p:cNvPr id="70" name="矩形 69">
            <a:hlinkClick r:id="rId27" action="ppaction://hlinksldjump"/>
            <a:extLst>
              <a:ext uri="{FF2B5EF4-FFF2-40B4-BE49-F238E27FC236}">
                <a16:creationId xmlns:a16="http://schemas.microsoft.com/office/drawing/2014/main" id="{B03420E7-D0C1-267B-7693-2D2039CB1F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9" name="矩形 68">
            <a:hlinkClick r:id="rId28" action="ppaction://hlinksldjump"/>
            <a:extLst>
              <a:ext uri="{FF2B5EF4-FFF2-40B4-BE49-F238E27FC236}">
                <a16:creationId xmlns:a16="http://schemas.microsoft.com/office/drawing/2014/main" id="{E3DFDD1B-3BC4-3BA5-5489-286A8F85F93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5</a:t>
            </a:r>
          </a:p>
        </p:txBody>
      </p:sp>
      <p:sp>
        <p:nvSpPr>
          <p:cNvPr id="68" name="矩形 67">
            <a:hlinkClick r:id="rId28" action="ppaction://hlinksldjump"/>
            <a:extLst>
              <a:ext uri="{FF2B5EF4-FFF2-40B4-BE49-F238E27FC236}">
                <a16:creationId xmlns:a16="http://schemas.microsoft.com/office/drawing/2014/main" id="{AC4C6B1C-784A-1EAE-A86E-32F98E057C1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57211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usal Relation Discovery</a:t>
            </a:r>
          </a:p>
        </p:txBody>
      </p:sp>
      <p:sp>
        <p:nvSpPr>
          <p:cNvPr id="67" name="矩形 66">
            <a:hlinkClick r:id="rId28" action="ppaction://hlinksldjump"/>
            <a:extLst>
              <a:ext uri="{FF2B5EF4-FFF2-40B4-BE49-F238E27FC236}">
                <a16:creationId xmlns:a16="http://schemas.microsoft.com/office/drawing/2014/main" id="{A0A4E954-3653-35AD-8350-B958C70D0FB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6" name="矩形 65">
            <a:hlinkClick r:id="rId29" action="ppaction://hlinksldjump"/>
            <a:extLst>
              <a:ext uri="{FF2B5EF4-FFF2-40B4-BE49-F238E27FC236}">
                <a16:creationId xmlns:a16="http://schemas.microsoft.com/office/drawing/2014/main" id="{99D631A1-A4D9-8812-FE8D-48E9469EB44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3</a:t>
            </a:r>
          </a:p>
        </p:txBody>
      </p:sp>
      <p:sp>
        <p:nvSpPr>
          <p:cNvPr id="65" name="矩形 64">
            <a:hlinkClick r:id="rId29" action="ppaction://hlinksldjump"/>
            <a:extLst>
              <a:ext uri="{FF2B5EF4-FFF2-40B4-BE49-F238E27FC236}">
                <a16:creationId xmlns:a16="http://schemas.microsoft.com/office/drawing/2014/main" id="{67E4D46A-F216-9DB3-DFE0-31C3C331264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ng-Horizon Task Execution</a:t>
            </a:r>
          </a:p>
        </p:txBody>
      </p:sp>
      <p:sp>
        <p:nvSpPr>
          <p:cNvPr id="64" name="矩形 63">
            <a:hlinkClick r:id="rId29" action="ppaction://hlinksldjump"/>
            <a:extLst>
              <a:ext uri="{FF2B5EF4-FFF2-40B4-BE49-F238E27FC236}">
                <a16:creationId xmlns:a16="http://schemas.microsoft.com/office/drawing/2014/main" id="{012619A4-0F8B-6EE2-2C8B-8654D949E73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3" name="矩形 62">
            <a:hlinkClick r:id="rId30" action="ppaction://hlinksldjump"/>
            <a:extLst>
              <a:ext uri="{FF2B5EF4-FFF2-40B4-BE49-F238E27FC236}">
                <a16:creationId xmlns:a16="http://schemas.microsoft.com/office/drawing/2014/main" id="{3D7E89AA-1E0A-A2E7-7DE3-734E96C06FC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1</a:t>
            </a:r>
          </a:p>
        </p:txBody>
      </p:sp>
      <p:sp>
        <p:nvSpPr>
          <p:cNvPr id="62" name="矩形 61">
            <a:hlinkClick r:id="rId30" action="ppaction://hlinksldjump"/>
            <a:extLst>
              <a:ext uri="{FF2B5EF4-FFF2-40B4-BE49-F238E27FC236}">
                <a16:creationId xmlns:a16="http://schemas.microsoft.com/office/drawing/2014/main" id="{C4F9A268-5992-9E0E-67CC-346D01B6C76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gnition of Complex Environment</a:t>
            </a:r>
          </a:p>
        </p:txBody>
      </p:sp>
      <p:sp>
        <p:nvSpPr>
          <p:cNvPr id="61" name="矩形 60">
            <a:hlinkClick r:id="rId30" action="ppaction://hlinksldjump"/>
            <a:extLst>
              <a:ext uri="{FF2B5EF4-FFF2-40B4-BE49-F238E27FC236}">
                <a16:creationId xmlns:a16="http://schemas.microsoft.com/office/drawing/2014/main" id="{793A58CB-2763-4F11-6232-23A72024CF4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矩形 59">
            <a:hlinkClick r:id="rId31" action="ppaction://hlinksldjump"/>
            <a:extLst>
              <a:ext uri="{FF2B5EF4-FFF2-40B4-BE49-F238E27FC236}">
                <a16:creationId xmlns:a16="http://schemas.microsoft.com/office/drawing/2014/main" id="{8BD6E294-7C8E-FEFD-9788-B8B730463F0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9</a:t>
            </a:r>
          </a:p>
        </p:txBody>
      </p:sp>
      <p:sp>
        <p:nvSpPr>
          <p:cNvPr id="59" name="矩形 58">
            <a:hlinkClick r:id="rId31" action="ppaction://hlinksldjump"/>
            <a:extLst>
              <a:ext uri="{FF2B5EF4-FFF2-40B4-BE49-F238E27FC236}">
                <a16:creationId xmlns:a16="http://schemas.microsoft.com/office/drawing/2014/main" id="{214E4511-BA0A-FA86-9F24-8DDC3C9CAAD5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fficient Utilization of Human Demonstration Data</a:t>
            </a:r>
          </a:p>
        </p:txBody>
      </p:sp>
      <p:sp>
        <p:nvSpPr>
          <p:cNvPr id="58" name="矩形 57">
            <a:hlinkClick r:id="rId31" action="ppaction://hlinksldjump"/>
            <a:extLst>
              <a:ext uri="{FF2B5EF4-FFF2-40B4-BE49-F238E27FC236}">
                <a16:creationId xmlns:a16="http://schemas.microsoft.com/office/drawing/2014/main" id="{B13321D2-F255-03E9-60D9-E18769856AD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32" action="ppaction://hlinksldjump"/>
            <a:extLst>
              <a:ext uri="{FF2B5EF4-FFF2-40B4-BE49-F238E27FC236}">
                <a16:creationId xmlns:a16="http://schemas.microsoft.com/office/drawing/2014/main" id="{DE02FAFC-6F02-C0C1-F9F7-0375A65C859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7</a:t>
            </a:r>
          </a:p>
        </p:txBody>
      </p:sp>
      <p:sp>
        <p:nvSpPr>
          <p:cNvPr id="56" name="矩形 55">
            <a:hlinkClick r:id="rId32" action="ppaction://hlinksldjump"/>
            <a:extLst>
              <a:ext uri="{FF2B5EF4-FFF2-40B4-BE49-F238E27FC236}">
                <a16:creationId xmlns:a16="http://schemas.microsoft.com/office/drawing/2014/main" id="{89DF4178-ADC2-80E2-79D2-C954E08E55FD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igh-quality Robotic Datasets</a:t>
            </a:r>
          </a:p>
        </p:txBody>
      </p:sp>
      <p:sp>
        <p:nvSpPr>
          <p:cNvPr id="55" name="矩形 54">
            <a:hlinkClick r:id="rId32" action="ppaction://hlinksldjump"/>
            <a:extLst>
              <a:ext uri="{FF2B5EF4-FFF2-40B4-BE49-F238E27FC236}">
                <a16:creationId xmlns:a16="http://schemas.microsoft.com/office/drawing/2014/main" id="{6931CC06-2E42-60A9-A7D2-0CCCB9B26359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D6AA205B-8144-0E0A-B519-8A5FB83F79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Difficulty of Implementing Embodied Intellig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4433238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685133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extLst>
              <a:ext uri="{FF2B5EF4-FFF2-40B4-BE49-F238E27FC236}">
                <a16:creationId xmlns:a16="http://schemas.microsoft.com/office/drawing/2014/main" id="{85EB7253-B888-8CD2-114D-1DB869E360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4499335"/>
            <a:ext cx="1069730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26" action="ppaction://hlinksldjump"/>
            <a:extLst>
              <a:ext uri="{FF2B5EF4-FFF2-40B4-BE49-F238E27FC236}">
                <a16:creationId xmlns:a16="http://schemas.microsoft.com/office/drawing/2014/main" id="{8616252B-7C93-69BC-5264-2682648EE8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9</a:t>
            </a:r>
          </a:p>
        </p:txBody>
      </p:sp>
      <p:sp>
        <p:nvSpPr>
          <p:cNvPr id="74" name="矩形 73">
            <a:hlinkClick r:id="rId26" action="ppaction://hlinksldjump"/>
            <a:extLst>
              <a:ext uri="{FF2B5EF4-FFF2-40B4-BE49-F238E27FC236}">
                <a16:creationId xmlns:a16="http://schemas.microsoft.com/office/drawing/2014/main" id="{A6700F35-A583-C75E-9501-C342E2D2CD2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4499335"/>
            <a:ext cx="475771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Unified Evaluation Benchmark</a:t>
            </a:r>
          </a:p>
        </p:txBody>
      </p:sp>
      <p:sp>
        <p:nvSpPr>
          <p:cNvPr id="73" name="矩形 72">
            <a:hlinkClick r:id="rId26" action="ppaction://hlinksldjump"/>
            <a:extLst>
              <a:ext uri="{FF2B5EF4-FFF2-40B4-BE49-F238E27FC236}">
                <a16:creationId xmlns:a16="http://schemas.microsoft.com/office/drawing/2014/main" id="{93D56A26-5F83-2337-8945-9F65B113DB5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2" name="矩形 71">
            <a:hlinkClick r:id="rId27" action="ppaction://hlinksldjump"/>
            <a:extLst>
              <a:ext uri="{FF2B5EF4-FFF2-40B4-BE49-F238E27FC236}">
                <a16:creationId xmlns:a16="http://schemas.microsoft.com/office/drawing/2014/main" id="{EE1829B7-6032-67A6-7C82-72A7C8DC723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7</a:t>
            </a:r>
          </a:p>
        </p:txBody>
      </p:sp>
      <p:sp>
        <p:nvSpPr>
          <p:cNvPr id="71" name="矩形 70">
            <a:hlinkClick r:id="rId27" action="ppaction://hlinksldjump"/>
            <a:extLst>
              <a:ext uri="{FF2B5EF4-FFF2-40B4-BE49-F238E27FC236}">
                <a16:creationId xmlns:a16="http://schemas.microsoft.com/office/drawing/2014/main" id="{BAE20AE0-DB0A-48CD-F519-ECBA9B9A01C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03572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tinual Learning</a:t>
            </a:r>
          </a:p>
        </p:txBody>
      </p:sp>
      <p:sp>
        <p:nvSpPr>
          <p:cNvPr id="70" name="矩形 69">
            <a:hlinkClick r:id="rId27" action="ppaction://hlinksldjump"/>
            <a:extLst>
              <a:ext uri="{FF2B5EF4-FFF2-40B4-BE49-F238E27FC236}">
                <a16:creationId xmlns:a16="http://schemas.microsoft.com/office/drawing/2014/main" id="{8B90D054-9061-9480-B36F-8CF2A5B490D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9" name="矩形 68">
            <a:hlinkClick r:id="rId28" action="ppaction://hlinksldjump"/>
            <a:extLst>
              <a:ext uri="{FF2B5EF4-FFF2-40B4-BE49-F238E27FC236}">
                <a16:creationId xmlns:a16="http://schemas.microsoft.com/office/drawing/2014/main" id="{208D8C40-6596-3159-406C-3EADFDD79B4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5</a:t>
            </a:r>
          </a:p>
        </p:txBody>
      </p:sp>
      <p:sp>
        <p:nvSpPr>
          <p:cNvPr id="68" name="矩形 67">
            <a:hlinkClick r:id="rId28" action="ppaction://hlinksldjump"/>
            <a:extLst>
              <a:ext uri="{FF2B5EF4-FFF2-40B4-BE49-F238E27FC236}">
                <a16:creationId xmlns:a16="http://schemas.microsoft.com/office/drawing/2014/main" id="{9B645E4E-0B14-C9C5-51B7-B55A0B7DB26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57211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ausal Relation Discovery</a:t>
            </a:r>
          </a:p>
        </p:txBody>
      </p:sp>
      <p:sp>
        <p:nvSpPr>
          <p:cNvPr id="67" name="矩形 66">
            <a:hlinkClick r:id="rId28" action="ppaction://hlinksldjump"/>
            <a:extLst>
              <a:ext uri="{FF2B5EF4-FFF2-40B4-BE49-F238E27FC236}">
                <a16:creationId xmlns:a16="http://schemas.microsoft.com/office/drawing/2014/main" id="{1F5CF52B-E448-A6FD-52B6-48C30E6A96E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6" name="矩形 65">
            <a:hlinkClick r:id="rId29" action="ppaction://hlinksldjump"/>
            <a:extLst>
              <a:ext uri="{FF2B5EF4-FFF2-40B4-BE49-F238E27FC236}">
                <a16:creationId xmlns:a16="http://schemas.microsoft.com/office/drawing/2014/main" id="{0073B2C6-8FE5-246A-133D-E0BDDEDBF87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3</a:t>
            </a:r>
          </a:p>
        </p:txBody>
      </p:sp>
      <p:sp>
        <p:nvSpPr>
          <p:cNvPr id="65" name="矩形 64">
            <a:hlinkClick r:id="rId29" action="ppaction://hlinksldjump"/>
            <a:extLst>
              <a:ext uri="{FF2B5EF4-FFF2-40B4-BE49-F238E27FC236}">
                <a16:creationId xmlns:a16="http://schemas.microsoft.com/office/drawing/2014/main" id="{F9B2C517-6B94-ABEA-2A75-84893EE21CE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ong-Horizon Task Execution</a:t>
            </a:r>
          </a:p>
        </p:txBody>
      </p:sp>
      <p:sp>
        <p:nvSpPr>
          <p:cNvPr id="64" name="矩形 63">
            <a:hlinkClick r:id="rId29" action="ppaction://hlinksldjump"/>
            <a:extLst>
              <a:ext uri="{FF2B5EF4-FFF2-40B4-BE49-F238E27FC236}">
                <a16:creationId xmlns:a16="http://schemas.microsoft.com/office/drawing/2014/main" id="{0D938DE1-CAE2-A78C-38EF-3DA7377F84E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3" name="矩形 62">
            <a:hlinkClick r:id="rId30" action="ppaction://hlinksldjump"/>
            <a:extLst>
              <a:ext uri="{FF2B5EF4-FFF2-40B4-BE49-F238E27FC236}">
                <a16:creationId xmlns:a16="http://schemas.microsoft.com/office/drawing/2014/main" id="{5C5992E7-11DC-B800-B1E5-C7834B66589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1</a:t>
            </a:r>
          </a:p>
        </p:txBody>
      </p:sp>
      <p:sp>
        <p:nvSpPr>
          <p:cNvPr id="62" name="矩形 61">
            <a:hlinkClick r:id="rId30" action="ppaction://hlinksldjump"/>
            <a:extLst>
              <a:ext uri="{FF2B5EF4-FFF2-40B4-BE49-F238E27FC236}">
                <a16:creationId xmlns:a16="http://schemas.microsoft.com/office/drawing/2014/main" id="{2F6F3823-3830-7D96-9C29-A7C293A4497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gnition of Complex Environment</a:t>
            </a:r>
          </a:p>
        </p:txBody>
      </p:sp>
      <p:sp>
        <p:nvSpPr>
          <p:cNvPr id="61" name="矩形 60">
            <a:hlinkClick r:id="rId30" action="ppaction://hlinksldjump"/>
            <a:extLst>
              <a:ext uri="{FF2B5EF4-FFF2-40B4-BE49-F238E27FC236}">
                <a16:creationId xmlns:a16="http://schemas.microsoft.com/office/drawing/2014/main" id="{6FAE497F-F055-1FF8-FCA0-CE4C6426EE5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矩形 59">
            <a:hlinkClick r:id="rId31" action="ppaction://hlinksldjump"/>
            <a:extLst>
              <a:ext uri="{FF2B5EF4-FFF2-40B4-BE49-F238E27FC236}">
                <a16:creationId xmlns:a16="http://schemas.microsoft.com/office/drawing/2014/main" id="{F42701FE-B43A-09FE-8565-14E02486E59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9</a:t>
            </a:r>
          </a:p>
        </p:txBody>
      </p:sp>
      <p:sp>
        <p:nvSpPr>
          <p:cNvPr id="59" name="矩形 58">
            <a:hlinkClick r:id="rId31" action="ppaction://hlinksldjump"/>
            <a:extLst>
              <a:ext uri="{FF2B5EF4-FFF2-40B4-BE49-F238E27FC236}">
                <a16:creationId xmlns:a16="http://schemas.microsoft.com/office/drawing/2014/main" id="{5C2C1FDD-D3CC-B649-20B1-7CA7D39FB0D6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fficient Utilization of Human Demonstration Data</a:t>
            </a:r>
          </a:p>
        </p:txBody>
      </p:sp>
      <p:sp>
        <p:nvSpPr>
          <p:cNvPr id="58" name="矩形 57">
            <a:hlinkClick r:id="rId31" action="ppaction://hlinksldjump"/>
            <a:extLst>
              <a:ext uri="{FF2B5EF4-FFF2-40B4-BE49-F238E27FC236}">
                <a16:creationId xmlns:a16="http://schemas.microsoft.com/office/drawing/2014/main" id="{CF427F98-8180-ADB5-4292-DF7859DC46F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矩形 56">
            <a:hlinkClick r:id="rId32" action="ppaction://hlinksldjump"/>
            <a:extLst>
              <a:ext uri="{FF2B5EF4-FFF2-40B4-BE49-F238E27FC236}">
                <a16:creationId xmlns:a16="http://schemas.microsoft.com/office/drawing/2014/main" id="{91F3A7B2-C6B3-8D16-CC25-23EF2BCE50EF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7</a:t>
            </a:r>
          </a:p>
        </p:txBody>
      </p:sp>
      <p:sp>
        <p:nvSpPr>
          <p:cNvPr id="56" name="矩形 55">
            <a:hlinkClick r:id="rId32" action="ppaction://hlinksldjump"/>
            <a:extLst>
              <a:ext uri="{FF2B5EF4-FFF2-40B4-BE49-F238E27FC236}">
                <a16:creationId xmlns:a16="http://schemas.microsoft.com/office/drawing/2014/main" id="{E37009B2-3C7A-46E7-9DF6-FC69426C00DB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475771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igh-quality Robotic Datasets</a:t>
            </a:r>
          </a:p>
        </p:txBody>
      </p:sp>
      <p:sp>
        <p:nvSpPr>
          <p:cNvPr id="55" name="矩形 54">
            <a:hlinkClick r:id="rId32" action="ppaction://hlinksldjump"/>
            <a:extLst>
              <a:ext uri="{FF2B5EF4-FFF2-40B4-BE49-F238E27FC236}">
                <a16:creationId xmlns:a16="http://schemas.microsoft.com/office/drawing/2014/main" id="{6761F31C-C2FE-C0F6-7D61-6612D602ED11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标题 53">
            <a:extLst>
              <a:ext uri="{FF2B5EF4-FFF2-40B4-BE49-F238E27FC236}">
                <a16:creationId xmlns:a16="http://schemas.microsoft.com/office/drawing/2014/main" id="{518B1791-7A57-F805-2DF2-696DA8C3999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Difficulty of Implementing Embodied Intellig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55012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8732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1E7BC13-EB44-A15F-D9A0-20C65BEE4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E7BC13-EB44-A15F-D9A0-20C65BEE4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zh-CN" sz="4400" b="1">
                <a:solidFill>
                  <a:schemeClr val="tx1"/>
                </a:solidFill>
              </a:rPr>
              <a:t>Quadruped Robots</a:t>
            </a:r>
            <a:endParaRPr lang="en-US" altLang="zh-CN" sz="4400" b="1" dirty="0">
              <a:solidFill>
                <a:schemeClr val="tx1"/>
              </a:solidFill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27916" y="516941"/>
            <a:ext cx="6353961" cy="5975933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优点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1600" dirty="0"/>
              <a:t>四足机器人以其稳定性和适应性而闻名，非常适合复杂地形探测、救援任务和军事应用。 受四足动物的启发，这些机器人在不平坦的表面上可以保持平衡和移动。 多关节设计使它们能够模仿生物运动，实现复杂的步态和姿态调整。 高度可调性使机器人能够自动调整其姿态以适应不断变化的地形，从而增强机动性和稳定性。 感知系统，例如激光雷达和摄像头，提供了环境感知能力，使机器人能够自主导航并避开障碍物 </a:t>
            </a:r>
            <a:endParaRPr lang="en-US" altLang="zh-CN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缺点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1600" dirty="0"/>
              <a:t>四足机器人的复杂设计和高制造成本导致了大量的初始投资，限制了其在成本敏感领域的应用。 此外，它们在复杂环境中电池续航时间有限，需要频繁充电或更换电池才能长时间运行</a:t>
            </a:r>
            <a:endParaRPr lang="en-US" altLang="zh-CN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/>
              <a:t>品牌：</a:t>
            </a:r>
            <a:endParaRPr lang="en-US" altLang="zh-CN" sz="2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Unitree Robotics’ Unitree A1 </a:t>
            </a:r>
            <a:r>
              <a:rPr lang="zh-CN" altLang="en-US" sz="1600" dirty="0"/>
              <a:t>和 </a:t>
            </a:r>
            <a:r>
              <a:rPr lang="en-US" sz="1600" dirty="0"/>
              <a:t>Go1 </a:t>
            </a:r>
            <a:r>
              <a:rPr lang="zh-CN" altLang="en-US" sz="1600" dirty="0"/>
              <a:t>以其成本效益和灵活性而闻名，具有强大的机动性和智能避障能力，适用于各种应用</a:t>
            </a:r>
            <a:endParaRPr lang="en-US" altLang="zh-CN" sz="16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zh-CN" sz="1600" dirty="0"/>
              <a:t>Boston Dynamics’ Spot </a:t>
            </a:r>
            <a:r>
              <a:rPr lang="zh-CN" altLang="en-US" sz="1600" dirty="0"/>
              <a:t>以其卓越的稳定性和操作灵活性而闻名，常用于工业检查和救援任务。 它具有强大的承载能力和适应性，能够在恶劣环境中执行复杂的任务</a:t>
            </a:r>
            <a:endParaRPr lang="en-US" altLang="zh-CN" sz="16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zh-CN" sz="1600" dirty="0" err="1"/>
              <a:t>ANYbotics</a:t>
            </a:r>
            <a:r>
              <a:rPr lang="en-US" altLang="zh-CN" sz="1600" dirty="0"/>
              <a:t>’ </a:t>
            </a:r>
            <a:r>
              <a:rPr lang="en-US" altLang="zh-CN" sz="1600" dirty="0" err="1"/>
              <a:t>ANYmal</a:t>
            </a:r>
            <a:r>
              <a:rPr lang="en-US" altLang="zh-CN" sz="1600" dirty="0"/>
              <a:t> C </a:t>
            </a:r>
            <a:r>
              <a:rPr lang="zh-CN" altLang="en-US" sz="1600" dirty="0"/>
              <a:t>采用模块化设计，耐用性高，广泛用于工业检查和维护，配备了自主导航和远程操作功能，适用于长时间户外任务，甚至极端的月球任务</a:t>
            </a:r>
            <a:endParaRPr lang="en-US" sz="16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CC6B77E-2198-4BF8-513B-97827D9F04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825625"/>
            <a:ext cx="4089716" cy="356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381849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63736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 25">
            <a:hlinkClick r:id="rId27" action="ppaction://hlinksldjump"/>
            <a:extLst>
              <a:ext uri="{FF2B5EF4-FFF2-40B4-BE49-F238E27FC236}">
                <a16:creationId xmlns:a16="http://schemas.microsoft.com/office/drawing/2014/main" id="{2B0C8510-AC2D-A950-D9A4-9BD7C6FA04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25" name="矩形 24">
            <a:hlinkClick r:id="rId27" action="ppaction://hlinksldjump"/>
            <a:extLst>
              <a:ext uri="{FF2B5EF4-FFF2-40B4-BE49-F238E27FC236}">
                <a16:creationId xmlns:a16="http://schemas.microsoft.com/office/drawing/2014/main" id="{EF15F3C8-71AD-E10A-A3A6-D3621BBAAD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499335"/>
            <a:ext cx="184826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Biomimetic Robots</a:t>
            </a:r>
          </a:p>
        </p:txBody>
      </p:sp>
      <p:sp>
        <p:nvSpPr>
          <p:cNvPr id="24" name="矩形 23">
            <a:hlinkClick r:id="rId27" action="ppaction://hlinksldjump"/>
            <a:extLst>
              <a:ext uri="{FF2B5EF4-FFF2-40B4-BE49-F238E27FC236}">
                <a16:creationId xmlns:a16="http://schemas.microsoft.com/office/drawing/2014/main" id="{5A944822-DF34-550D-36A5-1C4B0006994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79CCA732-A2D1-3772-AB16-2AF1A6C6957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403572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2" name="矩形 21">
            <a:hlinkClick r:id="rId28" action="ppaction://hlinksldjump"/>
            <a:extLst>
              <a:ext uri="{FF2B5EF4-FFF2-40B4-BE49-F238E27FC236}">
                <a16:creationId xmlns:a16="http://schemas.microsoft.com/office/drawing/2014/main" id="{AB6E19B5-784B-DC20-433F-393B66CDC9D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21" name="矩形 20">
            <a:hlinkClick r:id="rId28" action="ppaction://hlinksldjump"/>
            <a:extLst>
              <a:ext uri="{FF2B5EF4-FFF2-40B4-BE49-F238E27FC236}">
                <a16:creationId xmlns:a16="http://schemas.microsoft.com/office/drawing/2014/main" id="{86342712-D153-881F-F0F3-404C01CF2E8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03572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umanoid Robots</a:t>
            </a:r>
          </a:p>
        </p:txBody>
      </p:sp>
      <p:sp>
        <p:nvSpPr>
          <p:cNvPr id="20" name="矩形 19">
            <a:hlinkClick r:id="rId28" action="ppaction://hlinksldjump"/>
            <a:extLst>
              <a:ext uri="{FF2B5EF4-FFF2-40B4-BE49-F238E27FC236}">
                <a16:creationId xmlns:a16="http://schemas.microsoft.com/office/drawing/2014/main" id="{BA32CE9A-67B3-C5D9-A525-E7348167FC2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9" name="矩形 18">
            <a:hlinkClick r:id="rId29" action="ppaction://hlinksldjump"/>
            <a:extLst>
              <a:ext uri="{FF2B5EF4-FFF2-40B4-BE49-F238E27FC236}">
                <a16:creationId xmlns:a16="http://schemas.microsoft.com/office/drawing/2014/main" id="{6DD61967-C4CC-64EC-089F-C0E4B0E305A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18" name="矩形 17">
            <a:hlinkClick r:id="rId29" action="ppaction://hlinksldjump"/>
            <a:extLst>
              <a:ext uri="{FF2B5EF4-FFF2-40B4-BE49-F238E27FC236}">
                <a16:creationId xmlns:a16="http://schemas.microsoft.com/office/drawing/2014/main" id="{74930209-7F18-E1AA-168B-58F8B34AAA5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57211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Quadruped Robots</a:t>
            </a:r>
          </a:p>
        </p:txBody>
      </p:sp>
      <p:sp>
        <p:nvSpPr>
          <p:cNvPr id="17" name="矩形 16">
            <a:hlinkClick r:id="rId29" action="ppaction://hlinksldjump"/>
            <a:extLst>
              <a:ext uri="{FF2B5EF4-FFF2-40B4-BE49-F238E27FC236}">
                <a16:creationId xmlns:a16="http://schemas.microsoft.com/office/drawing/2014/main" id="{6E775D8F-9A6D-BE69-DCCC-71DD03DE7FE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6" name="矩形 15">
            <a:hlinkClick r:id="rId30" action="ppaction://hlinksldjump"/>
            <a:extLst>
              <a:ext uri="{FF2B5EF4-FFF2-40B4-BE49-F238E27FC236}">
                <a16:creationId xmlns:a16="http://schemas.microsoft.com/office/drawing/2014/main" id="{D0C5BC18-0BB3-D9B9-699B-A47DF6C72B9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15" name="矩形 14">
            <a:hlinkClick r:id="rId30" action="ppaction://hlinksldjump"/>
            <a:extLst>
              <a:ext uri="{FF2B5EF4-FFF2-40B4-BE49-F238E27FC236}">
                <a16:creationId xmlns:a16="http://schemas.microsoft.com/office/drawing/2014/main" id="{EFE206B8-4B23-13A7-EE81-9BD5B902D3C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cked Robots</a:t>
            </a:r>
          </a:p>
        </p:txBody>
      </p:sp>
      <p:sp>
        <p:nvSpPr>
          <p:cNvPr id="14" name="矩形 13">
            <a:hlinkClick r:id="rId30" action="ppaction://hlinksldjump"/>
            <a:extLst>
              <a:ext uri="{FF2B5EF4-FFF2-40B4-BE49-F238E27FC236}">
                <a16:creationId xmlns:a16="http://schemas.microsoft.com/office/drawing/2014/main" id="{61D9DD00-F921-3B14-DA22-F7AF6F8B5A4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矩形 12">
            <a:hlinkClick r:id="rId31" action="ppaction://hlinksldjump"/>
            <a:extLst>
              <a:ext uri="{FF2B5EF4-FFF2-40B4-BE49-F238E27FC236}">
                <a16:creationId xmlns:a16="http://schemas.microsoft.com/office/drawing/2014/main" id="{1934C329-D6D8-318E-85DD-F42161E4BD9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</a:t>
            </a:r>
          </a:p>
        </p:txBody>
      </p:sp>
      <p:sp>
        <p:nvSpPr>
          <p:cNvPr id="12" name="矩形 11">
            <a:hlinkClick r:id="rId31" action="ppaction://hlinksldjump"/>
            <a:extLst>
              <a:ext uri="{FF2B5EF4-FFF2-40B4-BE49-F238E27FC236}">
                <a16:creationId xmlns:a16="http://schemas.microsoft.com/office/drawing/2014/main" id="{90447D9D-836B-70F0-40C0-E6F2EDE01C7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heeled Robots</a:t>
            </a:r>
          </a:p>
        </p:txBody>
      </p:sp>
      <p:sp>
        <p:nvSpPr>
          <p:cNvPr id="11" name="矩形 10">
            <a:hlinkClick r:id="rId31" action="ppaction://hlinksldjump"/>
            <a:extLst>
              <a:ext uri="{FF2B5EF4-FFF2-40B4-BE49-F238E27FC236}">
                <a16:creationId xmlns:a16="http://schemas.microsoft.com/office/drawing/2014/main" id="{9BC688D2-1140-62A0-0085-B9CAFC979E8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矩形 9">
            <a:hlinkClick r:id="rId32" action="ppaction://hlinksldjump"/>
            <a:extLst>
              <a:ext uri="{FF2B5EF4-FFF2-40B4-BE49-F238E27FC236}">
                <a16:creationId xmlns:a16="http://schemas.microsoft.com/office/drawing/2014/main" id="{D8FEB547-380B-A074-956C-10523DC7890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9" name="矩形 8">
            <a:hlinkClick r:id="rId32" action="ppaction://hlinksldjump"/>
            <a:extLst>
              <a:ext uri="{FF2B5EF4-FFF2-40B4-BE49-F238E27FC236}">
                <a16:creationId xmlns:a16="http://schemas.microsoft.com/office/drawing/2014/main" id="{71F99752-301D-209F-0A36-3C1EFD9F9CE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xed-base Robots</a:t>
            </a:r>
          </a:p>
        </p:txBody>
      </p:sp>
      <p:sp>
        <p:nvSpPr>
          <p:cNvPr id="8" name="矩形 7">
            <a:hlinkClick r:id="rId32" action="ppaction://hlinksldjump"/>
            <a:extLst>
              <a:ext uri="{FF2B5EF4-FFF2-40B4-BE49-F238E27FC236}">
                <a16:creationId xmlns:a16="http://schemas.microsoft.com/office/drawing/2014/main" id="{6795FB8A-065A-14C3-B38C-1A48EEDB53E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矩形 6">
            <a:hlinkClick r:id="rId33" action="ppaction://hlinksldjump"/>
            <a:extLst>
              <a:ext uri="{FF2B5EF4-FFF2-40B4-BE49-F238E27FC236}">
                <a16:creationId xmlns:a16="http://schemas.microsoft.com/office/drawing/2014/main" id="{D4F5B224-ABFE-9529-76A1-E695305F02DF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6" name="矩形 5">
            <a:hlinkClick r:id="rId33" action="ppaction://hlinksldjump"/>
            <a:extLst>
              <a:ext uri="{FF2B5EF4-FFF2-40B4-BE49-F238E27FC236}">
                <a16:creationId xmlns:a16="http://schemas.microsoft.com/office/drawing/2014/main" id="{969D83FA-AC61-2F08-47EA-A512C28F172E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" name="矩形 4">
            <a:hlinkClick r:id="rId33" action="ppaction://hlinksldjump"/>
            <a:extLst>
              <a:ext uri="{FF2B5EF4-FFF2-40B4-BE49-F238E27FC236}">
                <a16:creationId xmlns:a16="http://schemas.microsoft.com/office/drawing/2014/main" id="{9F64A93C-2376-E8B9-9772-DFEE9CB80F72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FB4503EA-4D71-CF23-8097-E94ED70BCE23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Types of Robots</a:t>
            </a:r>
          </a:p>
        </p:txBody>
      </p:sp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E7B3284A-7E57-24B2-A8F1-30B487C4FA63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4" imgW="473" imgH="476" progId="TCLayout.ActiveDocument.1">
                  <p:embed/>
                </p:oleObj>
              </mc:Choice>
              <mc:Fallback>
                <p:oleObj name="think-cell 幻灯片" r:id="rId34" imgW="473" imgH="476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B3284A-7E57-24B2-A8F1-30B487C4F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12495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8393732-397E-E278-EA68-36A2D4AB05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393732-397E-E278-EA68-36A2D4AB05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Humanoid Robots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72374" y="365123"/>
            <a:ext cx="8098872" cy="6127751"/>
          </a:xfrm>
        </p:spPr>
        <p:txBody>
          <a:bodyPr>
            <a:noAutofit/>
          </a:bodyPr>
          <a:lstStyle/>
          <a:p>
            <a:r>
              <a:rPr lang="zh-CN" altLang="en-US" sz="2000" dirty="0"/>
              <a:t>优点：</a:t>
            </a:r>
            <a:endParaRPr lang="en-US" altLang="zh-CN" sz="2000" dirty="0"/>
          </a:p>
          <a:p>
            <a:pPr lvl="1"/>
            <a:r>
              <a:rPr lang="zh-CN" altLang="en-US" sz="1600" dirty="0"/>
              <a:t>类人机器人以其类人的形态而著称，在服务行业、医疗保健和协作环境等领域越来越普遍。 这些机器人可以模仿人类的动作和行为模式，提供个性化的服务和支持。 它们灵巧的双手设计使它们能够执行复杂的任务，这与其他类型的机器人区别开来。这些手通常具有多个自由度和高精度传感器，使它们能够模拟人手的抓取和操作能力，这在医疗手术和精密制造等领域尤为重要</a:t>
            </a:r>
            <a:endParaRPr lang="en-US" altLang="zh-CN" sz="1600" dirty="0"/>
          </a:p>
          <a:p>
            <a:r>
              <a:rPr lang="zh-CN" altLang="en-US" sz="2000" dirty="0"/>
              <a:t>缺点：</a:t>
            </a:r>
            <a:endParaRPr lang="en-US" altLang="zh-CN" sz="2000" dirty="0"/>
          </a:p>
          <a:p>
            <a:pPr lvl="1"/>
            <a:r>
              <a:rPr lang="zh-CN" altLang="en-US" sz="1600" dirty="0"/>
              <a:t>人形机器人在复杂环境中保持运行稳定性和可靠性方面面临挑战，因为它们拥有复杂的控制系统</a:t>
            </a:r>
            <a:r>
              <a:rPr lang="en-US" altLang="zh-CN" sz="1600" dirty="0"/>
              <a:t>. </a:t>
            </a:r>
            <a:r>
              <a:rPr lang="zh-CN" altLang="en-US" sz="1600" dirty="0"/>
              <a:t>这些挑战包括稳健的双足行走控制和灵巧的抓握。此外，传统上基于液压系统的 人形机器人，由于其笨重的结构和高维护成本，正逐渐被电机驱动系统所取代</a:t>
            </a:r>
            <a:r>
              <a:rPr lang="en-US" altLang="zh-CN" sz="1600" dirty="0"/>
              <a:t>. </a:t>
            </a:r>
            <a:r>
              <a:rPr lang="zh-CN" altLang="en-US" sz="1600" dirty="0"/>
              <a:t>最近，</a:t>
            </a:r>
            <a:r>
              <a:rPr lang="en-US" altLang="zh-CN" sz="1600" dirty="0"/>
              <a:t>Tesla </a:t>
            </a:r>
            <a:r>
              <a:rPr lang="zh-CN" altLang="en-US" sz="1600" dirty="0"/>
              <a:t>和 </a:t>
            </a:r>
            <a:r>
              <a:rPr lang="en-US" altLang="zh-CN" sz="1600" dirty="0"/>
              <a:t>Unitree </a:t>
            </a:r>
            <a:r>
              <a:rPr lang="zh-CN" altLang="en-US" sz="1600" dirty="0"/>
              <a:t>机器人公司推出了基于电机系统的人形机器人。随着 </a:t>
            </a:r>
            <a:r>
              <a:rPr lang="en-US" altLang="zh-CN" sz="1600" dirty="0"/>
              <a:t>LLM </a:t>
            </a:r>
            <a:r>
              <a:rPr lang="zh-CN" altLang="en-US" sz="1600" dirty="0"/>
              <a:t>的集成，人形机器人有望智能地处理各种复杂任务，填补制造业、医疗保健和服务业的劳动力缺口，从而提高效率和安全性</a:t>
            </a:r>
            <a:endParaRPr lang="en-US" altLang="zh-CN" sz="1600" dirty="0"/>
          </a:p>
          <a:p>
            <a:r>
              <a:rPr lang="zh-CN" altLang="en-US" sz="2000" dirty="0"/>
              <a:t>品牌：</a:t>
            </a:r>
            <a:endParaRPr lang="en-US" altLang="zh-CN" sz="2000" dirty="0"/>
          </a:p>
          <a:p>
            <a:pPr lvl="1"/>
            <a:r>
              <a:rPr lang="en-US" altLang="zh-CN" sz="1600" dirty="0"/>
              <a:t>Atlas (Boston Dynamics) </a:t>
            </a:r>
            <a:r>
              <a:rPr lang="zh-CN" altLang="en-US" sz="1600" dirty="0"/>
              <a:t>以其卓越的机动性和稳定性而闻名。 </a:t>
            </a:r>
            <a:r>
              <a:rPr lang="en-US" altLang="zh-CN" sz="1600" dirty="0"/>
              <a:t>Atlas </a:t>
            </a:r>
            <a:r>
              <a:rPr lang="zh-CN" altLang="en-US" sz="1600" dirty="0"/>
              <a:t>能够执行复杂的动态动作，例如奔跑、跳跃和翻滚，展示了人形机器人 在高度动态环境中的潜力</a:t>
            </a:r>
            <a:endParaRPr lang="en-US" altLang="zh-CN" sz="1600" dirty="0"/>
          </a:p>
          <a:p>
            <a:pPr lvl="1"/>
            <a:r>
              <a:rPr lang="en-US" altLang="zh-CN" sz="1600" dirty="0"/>
              <a:t>HRP </a:t>
            </a:r>
            <a:r>
              <a:rPr lang="zh-CN" altLang="en-US" sz="1600" dirty="0"/>
              <a:t>系列 </a:t>
            </a:r>
            <a:r>
              <a:rPr lang="en-US" altLang="zh-CN" sz="1600" dirty="0"/>
              <a:t>(AIST) </a:t>
            </a:r>
            <a:r>
              <a:rPr lang="zh-CN" altLang="en-US" sz="1600" dirty="0"/>
              <a:t>被应用于各种研究和工业应用，其设计重点是高稳定性和灵活性，使其在复杂环境中尤其是在与人类合作的任务中有效</a:t>
            </a:r>
            <a:endParaRPr lang="en-US" altLang="zh-CN" sz="1600" dirty="0"/>
          </a:p>
          <a:p>
            <a:pPr lvl="1"/>
            <a:r>
              <a:rPr lang="en-US" altLang="zh-CN" sz="1600" dirty="0"/>
              <a:t>ASIMO (</a:t>
            </a:r>
            <a:r>
              <a:rPr lang="zh-CN" altLang="en-US" sz="1600" dirty="0"/>
              <a:t>本田</a:t>
            </a:r>
            <a:r>
              <a:rPr lang="en-US" altLang="zh-CN" sz="1600" dirty="0"/>
              <a:t>)</a:t>
            </a:r>
            <a:r>
              <a:rPr lang="zh-CN" altLang="en-US" sz="1600" dirty="0"/>
              <a:t>，是最著名的人形机器人之一，能够行走、奔跑、爬楼梯，并识别面部和手势，使其适合于接待和引导服务</a:t>
            </a:r>
            <a:endParaRPr lang="en-US" altLang="zh-CN" sz="1600" dirty="0"/>
          </a:p>
          <a:p>
            <a:pPr lvl="1"/>
            <a:r>
              <a:rPr lang="en-US" altLang="zh-CN" sz="1600" dirty="0"/>
              <a:t>Pepper (</a:t>
            </a:r>
            <a:r>
              <a:rPr lang="zh-CN" altLang="en-US" sz="1600" dirty="0"/>
              <a:t>软银机器人</a:t>
            </a:r>
            <a:r>
              <a:rPr lang="en-US" altLang="zh-CN" sz="1600" dirty="0"/>
              <a:t>)</a:t>
            </a:r>
            <a:r>
              <a:rPr lang="zh-CN" altLang="en-US" sz="1600" dirty="0"/>
              <a:t>，一个小型社交机器人，能够识别情绪并进行自然语言交流，广泛应用于客户服务和教育领域 </a:t>
            </a:r>
            <a:endParaRPr lang="en-US" sz="16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7122F271-C03A-9E4D-2204-111D971ABFA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-1" b="758"/>
          <a:stretch/>
        </p:blipFill>
        <p:spPr>
          <a:xfrm>
            <a:off x="838200" y="1690689"/>
            <a:ext cx="2299283" cy="448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4894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矩形 25">
            <a:extLst>
              <a:ext uri="{FF2B5EF4-FFF2-40B4-BE49-F238E27FC236}">
                <a16:creationId xmlns:a16="http://schemas.microsoft.com/office/drawing/2014/main" id="{E27109AC-98B7-75F2-07CC-E3A2AC8ED4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4499335"/>
            <a:ext cx="1069730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5" name="矩形 24">
            <a:hlinkClick r:id="rId27" action="ppaction://hlinksldjump"/>
            <a:extLst>
              <a:ext uri="{FF2B5EF4-FFF2-40B4-BE49-F238E27FC236}">
                <a16:creationId xmlns:a16="http://schemas.microsoft.com/office/drawing/2014/main" id="{4993D669-D807-4CF3-76AC-57F54361C6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24" name="矩形 23">
            <a:hlinkClick r:id="rId27" action="ppaction://hlinksldjump"/>
            <a:extLst>
              <a:ext uri="{FF2B5EF4-FFF2-40B4-BE49-F238E27FC236}">
                <a16:creationId xmlns:a16="http://schemas.microsoft.com/office/drawing/2014/main" id="{CF58D056-EACC-94AD-2EBD-590ABA671ED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4499335"/>
            <a:ext cx="184826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Biomimetic Robots</a:t>
            </a:r>
          </a:p>
        </p:txBody>
      </p:sp>
      <p:sp>
        <p:nvSpPr>
          <p:cNvPr id="23" name="矩形 22">
            <a:hlinkClick r:id="rId27" action="ppaction://hlinksldjump"/>
            <a:extLst>
              <a:ext uri="{FF2B5EF4-FFF2-40B4-BE49-F238E27FC236}">
                <a16:creationId xmlns:a16="http://schemas.microsoft.com/office/drawing/2014/main" id="{AB49ED5A-B15E-CEF6-090D-ECA6609D5EB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22" name="矩形 21">
            <a:hlinkClick r:id="rId28" action="ppaction://hlinksldjump"/>
            <a:extLst>
              <a:ext uri="{FF2B5EF4-FFF2-40B4-BE49-F238E27FC236}">
                <a16:creationId xmlns:a16="http://schemas.microsoft.com/office/drawing/2014/main" id="{EC1C9754-7F1D-BB6A-1A74-248236E2548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1</a:t>
            </a:r>
          </a:p>
        </p:txBody>
      </p:sp>
      <p:sp>
        <p:nvSpPr>
          <p:cNvPr id="21" name="矩形 20">
            <a:hlinkClick r:id="rId28" action="ppaction://hlinksldjump"/>
            <a:extLst>
              <a:ext uri="{FF2B5EF4-FFF2-40B4-BE49-F238E27FC236}">
                <a16:creationId xmlns:a16="http://schemas.microsoft.com/office/drawing/2014/main" id="{32C74532-51BA-DA98-5820-82CD00B89A0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03572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Humanoid Robots</a:t>
            </a:r>
          </a:p>
        </p:txBody>
      </p:sp>
      <p:sp>
        <p:nvSpPr>
          <p:cNvPr id="20" name="矩形 19">
            <a:hlinkClick r:id="rId28" action="ppaction://hlinksldjump"/>
            <a:extLst>
              <a:ext uri="{FF2B5EF4-FFF2-40B4-BE49-F238E27FC236}">
                <a16:creationId xmlns:a16="http://schemas.microsoft.com/office/drawing/2014/main" id="{1B853F1F-E5BE-5183-BEB5-433BB7BCA00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9" name="矩形 18">
            <a:hlinkClick r:id="rId29" action="ppaction://hlinksldjump"/>
            <a:extLst>
              <a:ext uri="{FF2B5EF4-FFF2-40B4-BE49-F238E27FC236}">
                <a16:creationId xmlns:a16="http://schemas.microsoft.com/office/drawing/2014/main" id="{7B083D6C-4072-27C3-C0EB-B93C728D5E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9</a:t>
            </a:r>
          </a:p>
        </p:txBody>
      </p:sp>
      <p:sp>
        <p:nvSpPr>
          <p:cNvPr id="18" name="矩形 17">
            <a:hlinkClick r:id="rId29" action="ppaction://hlinksldjump"/>
            <a:extLst>
              <a:ext uri="{FF2B5EF4-FFF2-40B4-BE49-F238E27FC236}">
                <a16:creationId xmlns:a16="http://schemas.microsoft.com/office/drawing/2014/main" id="{55D50927-D7A9-FCA2-CB6A-5EF4BE8323E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357211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Quadruped Robots</a:t>
            </a:r>
          </a:p>
        </p:txBody>
      </p:sp>
      <p:sp>
        <p:nvSpPr>
          <p:cNvPr id="17" name="矩形 16">
            <a:hlinkClick r:id="rId29" action="ppaction://hlinksldjump"/>
            <a:extLst>
              <a:ext uri="{FF2B5EF4-FFF2-40B4-BE49-F238E27FC236}">
                <a16:creationId xmlns:a16="http://schemas.microsoft.com/office/drawing/2014/main" id="{340FE53A-61AF-4B1D-18E0-A86D8212939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6" name="矩形 15">
            <a:hlinkClick r:id="rId30" action="ppaction://hlinksldjump"/>
            <a:extLst>
              <a:ext uri="{FF2B5EF4-FFF2-40B4-BE49-F238E27FC236}">
                <a16:creationId xmlns:a16="http://schemas.microsoft.com/office/drawing/2014/main" id="{4652A210-79D9-F8C0-7E73-1FB4703507D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15" name="矩形 14">
            <a:hlinkClick r:id="rId30" action="ppaction://hlinksldjump"/>
            <a:extLst>
              <a:ext uri="{FF2B5EF4-FFF2-40B4-BE49-F238E27FC236}">
                <a16:creationId xmlns:a16="http://schemas.microsoft.com/office/drawing/2014/main" id="{051AAD97-A2AE-EDE3-9173-75868857B09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10850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cked Robots</a:t>
            </a:r>
          </a:p>
        </p:txBody>
      </p:sp>
      <p:sp>
        <p:nvSpPr>
          <p:cNvPr id="14" name="矩形 13">
            <a:hlinkClick r:id="rId30" action="ppaction://hlinksldjump"/>
            <a:extLst>
              <a:ext uri="{FF2B5EF4-FFF2-40B4-BE49-F238E27FC236}">
                <a16:creationId xmlns:a16="http://schemas.microsoft.com/office/drawing/2014/main" id="{EA2B189E-C185-23CA-FBEB-758B99E8DF5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矩形 12">
            <a:hlinkClick r:id="rId31" action="ppaction://hlinksldjump"/>
            <a:extLst>
              <a:ext uri="{FF2B5EF4-FFF2-40B4-BE49-F238E27FC236}">
                <a16:creationId xmlns:a16="http://schemas.microsoft.com/office/drawing/2014/main" id="{540E0E41-3695-8108-751B-2D58C44B593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5</a:t>
            </a:r>
          </a:p>
        </p:txBody>
      </p:sp>
      <p:sp>
        <p:nvSpPr>
          <p:cNvPr id="12" name="矩形 11">
            <a:hlinkClick r:id="rId31" action="ppaction://hlinksldjump"/>
            <a:extLst>
              <a:ext uri="{FF2B5EF4-FFF2-40B4-BE49-F238E27FC236}">
                <a16:creationId xmlns:a16="http://schemas.microsoft.com/office/drawing/2014/main" id="{48047510-DDDE-9FBF-BF29-B0262D0B099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264489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heeled Robots</a:t>
            </a:r>
          </a:p>
        </p:txBody>
      </p:sp>
      <p:sp>
        <p:nvSpPr>
          <p:cNvPr id="11" name="矩形 10">
            <a:hlinkClick r:id="rId31" action="ppaction://hlinksldjump"/>
            <a:extLst>
              <a:ext uri="{FF2B5EF4-FFF2-40B4-BE49-F238E27FC236}">
                <a16:creationId xmlns:a16="http://schemas.microsoft.com/office/drawing/2014/main" id="{FFBCC4A7-346A-109C-F3D3-80B34AF04C9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矩形 9">
            <a:hlinkClick r:id="rId32" action="ppaction://hlinksldjump"/>
            <a:extLst>
              <a:ext uri="{FF2B5EF4-FFF2-40B4-BE49-F238E27FC236}">
                <a16:creationId xmlns:a16="http://schemas.microsoft.com/office/drawing/2014/main" id="{33B309E0-3FF0-A36A-6E6F-BD4BA3789FC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9" name="矩形 8">
            <a:hlinkClick r:id="rId32" action="ppaction://hlinksldjump"/>
            <a:extLst>
              <a:ext uri="{FF2B5EF4-FFF2-40B4-BE49-F238E27FC236}">
                <a16:creationId xmlns:a16="http://schemas.microsoft.com/office/drawing/2014/main" id="{5B89905D-603B-F102-8CB3-285F418F41BE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18128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xed-base Robots</a:t>
            </a:r>
          </a:p>
        </p:txBody>
      </p:sp>
      <p:sp>
        <p:nvSpPr>
          <p:cNvPr id="8" name="矩形 7">
            <a:hlinkClick r:id="rId32" action="ppaction://hlinksldjump"/>
            <a:extLst>
              <a:ext uri="{FF2B5EF4-FFF2-40B4-BE49-F238E27FC236}">
                <a16:creationId xmlns:a16="http://schemas.microsoft.com/office/drawing/2014/main" id="{4F6A81A1-AA22-A001-4D56-1D70B79AA18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矩形 6">
            <a:hlinkClick r:id="rId33" action="ppaction://hlinksldjump"/>
            <a:extLst>
              <a:ext uri="{FF2B5EF4-FFF2-40B4-BE49-F238E27FC236}">
                <a16:creationId xmlns:a16="http://schemas.microsoft.com/office/drawing/2014/main" id="{C3306861-D60E-7815-8AE6-FC11F8EC7F14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6" name="矩形 5">
            <a:hlinkClick r:id="rId33" action="ppaction://hlinksldjump"/>
            <a:extLst>
              <a:ext uri="{FF2B5EF4-FFF2-40B4-BE49-F238E27FC236}">
                <a16:creationId xmlns:a16="http://schemas.microsoft.com/office/drawing/2014/main" id="{A7C265A5-7D77-2FBE-47B8-AB55DEA9DABB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1717675"/>
            <a:ext cx="184826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" name="矩形 4">
            <a:hlinkClick r:id="rId33" action="ppaction://hlinksldjump"/>
            <a:extLst>
              <a:ext uri="{FF2B5EF4-FFF2-40B4-BE49-F238E27FC236}">
                <a16:creationId xmlns:a16="http://schemas.microsoft.com/office/drawing/2014/main" id="{F4923538-304A-4C23-3E44-C91EC32B408E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2E0B008-8156-D696-E888-CBFAB073ECE0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/>
              <a:t>Types of Robots</a:t>
            </a:r>
          </a:p>
        </p:txBody>
      </p:sp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7CFDE0D4-4818-20AA-F43A-2FF20307E94D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4" imgW="473" imgH="476" progId="TCLayout.ActiveDocument.1">
                  <p:embed/>
                </p:oleObj>
              </mc:Choice>
              <mc:Fallback>
                <p:oleObj name="think-cell 幻灯片" r:id="rId34" imgW="473" imgH="476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FDE0D4-4818-20AA-F43A-2FF20307E9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07683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486E7BC-2C34-6DA7-BC22-5137D0593E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86E7BC-2C34-6DA7-BC22-5137D0593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Biomimetic Robots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9172" y="3171110"/>
            <a:ext cx="10330342" cy="3497108"/>
          </a:xfrm>
        </p:spPr>
        <p:txBody>
          <a:bodyPr>
            <a:noAutofit/>
          </a:bodyPr>
          <a:lstStyle/>
          <a:p>
            <a:r>
              <a:rPr lang="zh-CN" altLang="en-US" sz="2000" dirty="0"/>
              <a:t>优点：</a:t>
            </a:r>
            <a:endParaRPr lang="en-US" altLang="zh-CN" sz="2000" dirty="0"/>
          </a:p>
          <a:p>
            <a:pPr lvl="1"/>
            <a:r>
              <a:rPr lang="zh-CN" altLang="en-US" sz="1600" dirty="0"/>
              <a:t>仿生机器人通过模拟自然生物体的有效运动和功能，在复杂和动态环境中执行任务</a:t>
            </a:r>
            <a:r>
              <a:rPr lang="en-US" altLang="zh-CN" sz="1600" dirty="0"/>
              <a:t>. </a:t>
            </a:r>
            <a:r>
              <a:rPr lang="zh-CN" altLang="en-US" sz="1600" dirty="0"/>
              <a:t>通过模仿生物体的形式和运动机制，这些机器人展示了在医疗保健、环境监测和生物研究等领域的巨大潜力。通常，它们利用柔性材料和结构来实现逼真的敏捷运动，并最大限度地减少对环境的影响</a:t>
            </a:r>
            <a:r>
              <a:rPr lang="en-US" altLang="zh-CN" sz="1600" dirty="0"/>
              <a:t>. </a:t>
            </a:r>
            <a:r>
              <a:rPr lang="zh-CN" altLang="en-US" sz="1600" dirty="0"/>
              <a:t>重要的是，仿生设计可以通过模仿生物体的有效运动机制，显著提高机器人的能效，使其在能耗方面更加经济</a:t>
            </a:r>
            <a:endParaRPr lang="en-US" altLang="zh-CN" sz="1600" dirty="0"/>
          </a:p>
          <a:p>
            <a:r>
              <a:rPr lang="zh-CN" altLang="en-US" sz="2000" dirty="0"/>
              <a:t>缺点：</a:t>
            </a:r>
            <a:endParaRPr lang="en-US" altLang="zh-CN" sz="2000" dirty="0"/>
          </a:p>
          <a:p>
            <a:pPr lvl="1"/>
            <a:r>
              <a:rPr lang="zh-CN" altLang="en-US" sz="1600" dirty="0"/>
              <a:t>仿生机器人也面临着一些挑战</a:t>
            </a:r>
            <a:r>
              <a:rPr lang="en-US" altLang="zh-CN" sz="1600" dirty="0"/>
              <a:t>. </a:t>
            </a:r>
            <a:r>
              <a:rPr lang="zh-CN" altLang="en-US" sz="1600" dirty="0"/>
              <a:t>首先，它们的设计和制造工艺复杂且成本高昂，限制了大规模生产和广泛应用。 其次，由于它们使用柔性材料和复杂的运动机制，仿生机器人在极端环境下的耐用性和可靠性有限</a:t>
            </a:r>
            <a:endParaRPr lang="en-US" altLang="zh-CN" sz="1600" dirty="0"/>
          </a:p>
          <a:p>
            <a:r>
              <a:rPr lang="zh-CN" altLang="en-US" sz="2000" dirty="0"/>
              <a:t>类型：</a:t>
            </a:r>
            <a:endParaRPr lang="en-US" altLang="zh-CN" sz="2000" dirty="0"/>
          </a:p>
          <a:p>
            <a:pPr lvl="1"/>
            <a:r>
              <a:rPr lang="zh-CN" altLang="en-US" sz="1600" dirty="0"/>
              <a:t>鱼形机器人</a:t>
            </a:r>
            <a:endParaRPr lang="en-US" altLang="zh-CN" sz="1600" dirty="0"/>
          </a:p>
          <a:p>
            <a:pPr lvl="1"/>
            <a:r>
              <a:rPr lang="zh-CN" altLang="en-US" sz="1600" dirty="0"/>
              <a:t>昆虫形机器人</a:t>
            </a:r>
            <a:endParaRPr lang="en-US" altLang="zh-CN" sz="1600" dirty="0"/>
          </a:p>
          <a:p>
            <a:pPr lvl="1"/>
            <a:r>
              <a:rPr lang="zh-CN" altLang="en-US" sz="1600" dirty="0"/>
              <a:t>软体机器人</a:t>
            </a:r>
            <a:endParaRPr lang="en-US" sz="16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A23ECDA-0EDD-748A-45EA-18A4F91B5B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8313" y="1483745"/>
            <a:ext cx="7414903" cy="265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2674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矩形 142">
            <a:hlinkClick r:id="rId30" action="ppaction://hlinksldjump"/>
            <a:extLst>
              <a:ext uri="{FF2B5EF4-FFF2-40B4-BE49-F238E27FC236}">
                <a16:creationId xmlns:a16="http://schemas.microsoft.com/office/drawing/2014/main" id="{D4B56945-DF03-A444-8F37-02A238B459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5</a:t>
            </a:r>
          </a:p>
        </p:txBody>
      </p:sp>
      <p:sp>
        <p:nvSpPr>
          <p:cNvPr id="142" name="矩形 141">
            <a:hlinkClick r:id="rId30" action="ppaction://hlinksldjump"/>
            <a:extLst>
              <a:ext uri="{FF2B5EF4-FFF2-40B4-BE49-F238E27FC236}">
                <a16:creationId xmlns:a16="http://schemas.microsoft.com/office/drawing/2014/main" id="{91BE74C4-9DAC-A390-5E3B-6B36EB684A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&amp; Future Directions</a:t>
            </a:r>
          </a:p>
        </p:txBody>
      </p:sp>
      <p:sp>
        <p:nvSpPr>
          <p:cNvPr id="141" name="矩形 140">
            <a:hlinkClick r:id="rId30" action="ppaction://hlinksldjump"/>
            <a:extLst>
              <a:ext uri="{FF2B5EF4-FFF2-40B4-BE49-F238E27FC236}">
                <a16:creationId xmlns:a16="http://schemas.microsoft.com/office/drawing/2014/main" id="{28785972-EE01-1DD8-F049-4D4C9CA98C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40" name="矩形 139">
            <a:hlinkClick r:id="rId31" action="ppaction://hlinksldjump"/>
            <a:extLst>
              <a:ext uri="{FF2B5EF4-FFF2-40B4-BE49-F238E27FC236}">
                <a16:creationId xmlns:a16="http://schemas.microsoft.com/office/drawing/2014/main" id="{B30D8972-C32E-C4E5-657B-D3BE10E98A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9</a:t>
            </a:r>
          </a:p>
        </p:txBody>
      </p:sp>
      <p:sp>
        <p:nvSpPr>
          <p:cNvPr id="139" name="矩形 138">
            <a:hlinkClick r:id="rId31" action="ppaction://hlinksldjump"/>
            <a:extLst>
              <a:ext uri="{FF2B5EF4-FFF2-40B4-BE49-F238E27FC236}">
                <a16:creationId xmlns:a16="http://schemas.microsoft.com/office/drawing/2014/main" id="{8BAF87C3-8BF6-4D46-6EA0-12A1D25B230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96395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138" name="矩形 137">
            <a:hlinkClick r:id="rId31" action="ppaction://hlinksldjump"/>
            <a:extLst>
              <a:ext uri="{FF2B5EF4-FFF2-40B4-BE49-F238E27FC236}">
                <a16:creationId xmlns:a16="http://schemas.microsoft.com/office/drawing/2014/main" id="{68F477F3-1F9A-09D6-E443-05BDF9A4262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37" name="矩形 136">
            <a:hlinkClick r:id="rId32" action="ppaction://hlinksldjump"/>
            <a:extLst>
              <a:ext uri="{FF2B5EF4-FFF2-40B4-BE49-F238E27FC236}">
                <a16:creationId xmlns:a16="http://schemas.microsoft.com/office/drawing/2014/main" id="{53062934-AB8D-259F-C50C-32C26C1D20A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5</a:t>
            </a:r>
          </a:p>
        </p:txBody>
      </p:sp>
      <p:sp>
        <p:nvSpPr>
          <p:cNvPr id="136" name="矩形 135">
            <a:hlinkClick r:id="rId32" action="ppaction://hlinksldjump"/>
            <a:extLst>
              <a:ext uri="{FF2B5EF4-FFF2-40B4-BE49-F238E27FC236}">
                <a16:creationId xmlns:a16="http://schemas.microsoft.com/office/drawing/2014/main" id="{B9B209F3-70BD-6666-2EB6-75F5CC15EF4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135" name="矩形 134">
            <a:hlinkClick r:id="rId32" action="ppaction://hlinksldjump"/>
            <a:extLst>
              <a:ext uri="{FF2B5EF4-FFF2-40B4-BE49-F238E27FC236}">
                <a16:creationId xmlns:a16="http://schemas.microsoft.com/office/drawing/2014/main" id="{7EBD98B2-471E-117A-0CE1-1C71A4A3551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4" name="矩形 133">
            <a:hlinkClick r:id="rId33" action="ppaction://hlinksldjump"/>
            <a:extLst>
              <a:ext uri="{FF2B5EF4-FFF2-40B4-BE49-F238E27FC236}">
                <a16:creationId xmlns:a16="http://schemas.microsoft.com/office/drawing/2014/main" id="{E2B6A564-23A9-4A37-4B9A-442EABBA02A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5</a:t>
            </a:r>
          </a:p>
        </p:txBody>
      </p:sp>
      <p:sp>
        <p:nvSpPr>
          <p:cNvPr id="133" name="矩形 132">
            <a:hlinkClick r:id="rId33" action="ppaction://hlinksldjump"/>
            <a:extLst>
              <a:ext uri="{FF2B5EF4-FFF2-40B4-BE49-F238E27FC236}">
                <a16:creationId xmlns:a16="http://schemas.microsoft.com/office/drawing/2014/main" id="{348EA4AA-FC3C-FDE2-64BC-FC1F7E5B80C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132" name="矩形 131">
            <a:hlinkClick r:id="rId33" action="ppaction://hlinksldjump"/>
            <a:extLst>
              <a:ext uri="{FF2B5EF4-FFF2-40B4-BE49-F238E27FC236}">
                <a16:creationId xmlns:a16="http://schemas.microsoft.com/office/drawing/2014/main" id="{82B7B352-60B2-136C-E8F1-D93E0A26DCA8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31" name="矩形 130">
            <a:hlinkClick r:id="rId34" action="ppaction://hlinksldjump"/>
            <a:extLst>
              <a:ext uri="{FF2B5EF4-FFF2-40B4-BE49-F238E27FC236}">
                <a16:creationId xmlns:a16="http://schemas.microsoft.com/office/drawing/2014/main" id="{80515E69-8FF6-6CBA-82BF-108837E15F5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5</a:t>
            </a:r>
          </a:p>
        </p:txBody>
      </p:sp>
      <p:sp>
        <p:nvSpPr>
          <p:cNvPr id="130" name="矩形 129">
            <a:hlinkClick r:id="rId34" action="ppaction://hlinksldjump"/>
            <a:extLst>
              <a:ext uri="{FF2B5EF4-FFF2-40B4-BE49-F238E27FC236}">
                <a16:creationId xmlns:a16="http://schemas.microsoft.com/office/drawing/2014/main" id="{7A1A568F-94AB-9AF6-355B-142F028632B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129" name="矩形 128">
            <a:hlinkClick r:id="rId34" action="ppaction://hlinksldjump"/>
            <a:extLst>
              <a:ext uri="{FF2B5EF4-FFF2-40B4-BE49-F238E27FC236}">
                <a16:creationId xmlns:a16="http://schemas.microsoft.com/office/drawing/2014/main" id="{9AA298AC-B898-05E7-8FF5-0C912ED7283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8" name="矩形 127">
            <a:extLst>
              <a:ext uri="{FF2B5EF4-FFF2-40B4-BE49-F238E27FC236}">
                <a16:creationId xmlns:a16="http://schemas.microsoft.com/office/drawing/2014/main" id="{21975578-C984-D70B-5055-246E50B2A3C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7" name="矩形 126">
            <a:hlinkClick r:id="rId35" action="ppaction://hlinksldjump"/>
            <a:extLst>
              <a:ext uri="{FF2B5EF4-FFF2-40B4-BE49-F238E27FC236}">
                <a16:creationId xmlns:a16="http://schemas.microsoft.com/office/drawing/2014/main" id="{E36643B0-4B36-DE59-81E4-E2AF8FDBC5D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126" name="矩形 125">
            <a:hlinkClick r:id="rId35" action="ppaction://hlinksldjump"/>
            <a:extLst>
              <a:ext uri="{FF2B5EF4-FFF2-40B4-BE49-F238E27FC236}">
                <a16:creationId xmlns:a16="http://schemas.microsoft.com/office/drawing/2014/main" id="{7729E9FA-B4A6-479F-AA98-402A6887163E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125" name="矩形 124">
            <a:hlinkClick r:id="rId35" action="ppaction://hlinksldjump"/>
            <a:extLst>
              <a:ext uri="{FF2B5EF4-FFF2-40B4-BE49-F238E27FC236}">
                <a16:creationId xmlns:a16="http://schemas.microsoft.com/office/drawing/2014/main" id="{48E0CBD7-C4D7-0084-667A-0A1C9832E90D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4" name="矩形 123">
            <a:hlinkClick r:id="rId36" action="ppaction://hlinksldjump"/>
            <a:extLst>
              <a:ext uri="{FF2B5EF4-FFF2-40B4-BE49-F238E27FC236}">
                <a16:creationId xmlns:a16="http://schemas.microsoft.com/office/drawing/2014/main" id="{C27488F4-13DD-3EB9-561C-79C035A0F5A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123" name="矩形 122">
            <a:hlinkClick r:id="rId36" action="ppaction://hlinksldjump"/>
            <a:extLst>
              <a:ext uri="{FF2B5EF4-FFF2-40B4-BE49-F238E27FC236}">
                <a16:creationId xmlns:a16="http://schemas.microsoft.com/office/drawing/2014/main" id="{14B1669E-13EB-3181-A531-08AC225A5B1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122" name="矩形 121">
            <a:hlinkClick r:id="rId36" action="ppaction://hlinksldjump"/>
            <a:extLst>
              <a:ext uri="{FF2B5EF4-FFF2-40B4-BE49-F238E27FC236}">
                <a16:creationId xmlns:a16="http://schemas.microsoft.com/office/drawing/2014/main" id="{1F1A88EE-C565-A8A2-600F-02B5258A7FFF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1" name="矩形 120">
            <a:hlinkClick r:id="rId37" action="ppaction://hlinksldjump"/>
            <a:extLst>
              <a:ext uri="{FF2B5EF4-FFF2-40B4-BE49-F238E27FC236}">
                <a16:creationId xmlns:a16="http://schemas.microsoft.com/office/drawing/2014/main" id="{47611E39-4861-BBAD-6C48-E6947D846547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20" name="矩形 119">
            <a:hlinkClick r:id="rId37" action="ppaction://hlinksldjump"/>
            <a:extLst>
              <a:ext uri="{FF2B5EF4-FFF2-40B4-BE49-F238E27FC236}">
                <a16:creationId xmlns:a16="http://schemas.microsoft.com/office/drawing/2014/main" id="{DAB87D84-1B80-6C30-E96B-3DD1BA5491ED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119" name="矩形 118">
            <a:hlinkClick r:id="rId37" action="ppaction://hlinksldjump"/>
            <a:extLst>
              <a:ext uri="{FF2B5EF4-FFF2-40B4-BE49-F238E27FC236}">
                <a16:creationId xmlns:a16="http://schemas.microsoft.com/office/drawing/2014/main" id="{3090EDBA-A760-2197-7A9B-B90C84B0CA57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8" name="标题 117">
            <a:extLst>
              <a:ext uri="{FF2B5EF4-FFF2-40B4-BE49-F238E27FC236}">
                <a16:creationId xmlns:a16="http://schemas.microsoft.com/office/drawing/2014/main" id="{C703D189-D2EC-BE24-2F90-874D4F398FC4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 vert="horz"/>
          <a:lstStyle/>
          <a:p>
            <a:r>
              <a:rPr lang="en-US"/>
              <a:t>Tools &amp; Tasks</a:t>
            </a:r>
          </a:p>
        </p:txBody>
      </p:sp>
      <p:graphicFrame>
        <p:nvGraphicFramePr>
          <p:cNvPr id="115" name="think-cell data - do not delete" hidden="1">
            <a:extLst>
              <a:ext uri="{FF2B5EF4-FFF2-40B4-BE49-F238E27FC236}">
                <a16:creationId xmlns:a16="http://schemas.microsoft.com/office/drawing/2014/main" id="{6E898C58-C0D8-83F9-1C72-FA2A17CFDB63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3707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473" imgH="476" progId="TCLayout.ActiveDocument.1">
                  <p:embed/>
                </p:oleObj>
              </mc:Choice>
              <mc:Fallback>
                <p:oleObj name="think-cell 幻灯片" r:id="rId38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55572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12D19AE-57CE-1CF4-6FB2-4751F7CF20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111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 descr="图示&#10;&#10;描述已自动生成">
            <a:extLst>
              <a:ext uri="{FF2B5EF4-FFF2-40B4-BE49-F238E27FC236}">
                <a16:creationId xmlns:a16="http://schemas.microsoft.com/office/drawing/2014/main" id="{8695B2F1-26CA-2741-F078-BE922F9B18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9433"/>
            <a:ext cx="12192000" cy="503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1936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hlinkClick r:id="rId17" action="ppaction://hlinksldjump"/>
            <a:extLst>
              <a:ext uri="{FF2B5EF4-FFF2-40B4-BE49-F238E27FC236}">
                <a16:creationId xmlns:a16="http://schemas.microsoft.com/office/drawing/2014/main" id="{8C59D39D-48A6-EC16-0435-1547A708C3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0</a:t>
            </a:r>
          </a:p>
        </p:txBody>
      </p:sp>
      <p:sp>
        <p:nvSpPr>
          <p:cNvPr id="16" name="矩形 15">
            <a:hlinkClick r:id="rId17" action="ppaction://hlinksldjump"/>
            <a:extLst>
              <a:ext uri="{FF2B5EF4-FFF2-40B4-BE49-F238E27FC236}">
                <a16:creationId xmlns:a16="http://schemas.microsoft.com/office/drawing/2014/main" id="{948AC65C-3558-806B-E375-74000943C6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utomated Simulation Scene Construction</a:t>
            </a:r>
          </a:p>
        </p:txBody>
      </p:sp>
      <p:sp>
        <p:nvSpPr>
          <p:cNvPr id="15" name="矩形 14">
            <a:hlinkClick r:id="rId17" action="ppaction://hlinksldjump"/>
            <a:extLst>
              <a:ext uri="{FF2B5EF4-FFF2-40B4-BE49-F238E27FC236}">
                <a16:creationId xmlns:a16="http://schemas.microsoft.com/office/drawing/2014/main" id="{97409BCD-F904-99BA-7DB7-F544E2C4017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4" name="矩形 13">
            <a:hlinkClick r:id="rId18" action="ppaction://hlinksldjump"/>
            <a:extLst>
              <a:ext uri="{FF2B5EF4-FFF2-40B4-BE49-F238E27FC236}">
                <a16:creationId xmlns:a16="http://schemas.microsoft.com/office/drawing/2014/main" id="{17E3FA86-8947-305D-4F23-88BE1827BC3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1</a:t>
            </a:r>
          </a:p>
        </p:txBody>
      </p:sp>
      <p:sp>
        <p:nvSpPr>
          <p:cNvPr id="13" name="矩形 12">
            <a:hlinkClick r:id="rId18" action="ppaction://hlinksldjump"/>
            <a:extLst>
              <a:ext uri="{FF2B5EF4-FFF2-40B4-BE49-F238E27FC236}">
                <a16:creationId xmlns:a16="http://schemas.microsoft.com/office/drawing/2014/main" id="{23B2B8AD-5A2B-0166-BE8B-68AA4ABAD11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64489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al-Scene Based Simulators</a:t>
            </a:r>
          </a:p>
        </p:txBody>
      </p:sp>
      <p:sp>
        <p:nvSpPr>
          <p:cNvPr id="12" name="矩形 11">
            <a:hlinkClick r:id="rId18" action="ppaction://hlinksldjump"/>
            <a:extLst>
              <a:ext uri="{FF2B5EF4-FFF2-40B4-BE49-F238E27FC236}">
                <a16:creationId xmlns:a16="http://schemas.microsoft.com/office/drawing/2014/main" id="{FB579A6A-8813-7D5E-AD1B-1405038B575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1" name="矩形 10">
            <a:hlinkClick r:id="rId19" action="ppaction://hlinksldjump"/>
            <a:extLst>
              <a:ext uri="{FF2B5EF4-FFF2-40B4-BE49-F238E27FC236}">
                <a16:creationId xmlns:a16="http://schemas.microsoft.com/office/drawing/2014/main" id="{6ED5AFA7-5C6D-C365-78BD-CEFA7E8BEC2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10" name="矩形 9">
            <a:hlinkClick r:id="rId19" action="ppaction://hlinksldjump"/>
            <a:extLst>
              <a:ext uri="{FF2B5EF4-FFF2-40B4-BE49-F238E27FC236}">
                <a16:creationId xmlns:a16="http://schemas.microsoft.com/office/drawing/2014/main" id="{FE848CBD-A298-1174-8813-9AB42E8C66C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18128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eneral Simulator</a:t>
            </a:r>
          </a:p>
        </p:txBody>
      </p:sp>
      <p:sp>
        <p:nvSpPr>
          <p:cNvPr id="9" name="矩形 8">
            <a:hlinkClick r:id="rId19" action="ppaction://hlinksldjump"/>
            <a:extLst>
              <a:ext uri="{FF2B5EF4-FFF2-40B4-BE49-F238E27FC236}">
                <a16:creationId xmlns:a16="http://schemas.microsoft.com/office/drawing/2014/main" id="{5675CF2F-9097-384C-F930-69E6E4D4F16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6B35862-1E4A-CA9A-8BAD-AFB4A090BF6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矩形 6">
            <a:hlinkClick r:id="rId20" action="ppaction://hlinksldjump"/>
            <a:extLst>
              <a:ext uri="{FF2B5EF4-FFF2-40B4-BE49-F238E27FC236}">
                <a16:creationId xmlns:a16="http://schemas.microsoft.com/office/drawing/2014/main" id="{390D9BF1-C214-42ED-F305-64E1824B0A9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6" name="矩形 5">
            <a:hlinkClick r:id="rId20" action="ppaction://hlinksldjump"/>
            <a:extLst>
              <a:ext uri="{FF2B5EF4-FFF2-40B4-BE49-F238E27FC236}">
                <a16:creationId xmlns:a16="http://schemas.microsoft.com/office/drawing/2014/main" id="{D64B0FA4-86C8-8660-75F2-FFFB72E37E7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" name="矩形 4">
            <a:hlinkClick r:id="rId20" action="ppaction://hlinksldjump"/>
            <a:extLst>
              <a:ext uri="{FF2B5EF4-FFF2-40B4-BE49-F238E27FC236}">
                <a16:creationId xmlns:a16="http://schemas.microsoft.com/office/drawing/2014/main" id="{71B4CD81-084B-09B1-4B6C-2CD6115A38E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7B551EF7-89F5-7E3D-D76F-B21D8E640B55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Types of Simulato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81747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3B2438F-D581-234F-B936-14CCD21231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8352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Introduction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具身模拟器对于具身 </a:t>
            </a:r>
            <a:r>
              <a:rPr lang="en-US" altLang="zh-CN" dirty="0"/>
              <a:t>AI </a:t>
            </a:r>
            <a:r>
              <a:rPr lang="zh-CN" altLang="en-US" dirty="0"/>
              <a:t>至关重要，因为它们提供成本效益高的实验，通过模拟潜在的危险场景来确保安全，可扩展性以适应各种环境中的测试，快速原型制作能力，更广泛的研究社区的可访问性，用于精确研究的受控环境，用于训练和评估的数据生成以及用于算法比较的标准化基准。 为了使 智能体 能够与环境交互，有必要构建一个逼真的模拟环境。 这需要考虑环境的物理特性、物体的属性及其相互作用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1208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hlinkClick r:id="rId17" action="ppaction://hlinksldjump"/>
            <a:extLst>
              <a:ext uri="{FF2B5EF4-FFF2-40B4-BE49-F238E27FC236}">
                <a16:creationId xmlns:a16="http://schemas.microsoft.com/office/drawing/2014/main" id="{30861521-5B6B-7B14-4D52-3D6731312DB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0</a:t>
            </a:r>
          </a:p>
        </p:txBody>
      </p:sp>
      <p:sp>
        <p:nvSpPr>
          <p:cNvPr id="16" name="矩形 15">
            <a:hlinkClick r:id="rId17" action="ppaction://hlinksldjump"/>
            <a:extLst>
              <a:ext uri="{FF2B5EF4-FFF2-40B4-BE49-F238E27FC236}">
                <a16:creationId xmlns:a16="http://schemas.microsoft.com/office/drawing/2014/main" id="{5EEE7AAD-6686-473D-5E2A-D22B136409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utomated Simulation Scene Construction</a:t>
            </a:r>
          </a:p>
        </p:txBody>
      </p:sp>
      <p:sp>
        <p:nvSpPr>
          <p:cNvPr id="15" name="矩形 14">
            <a:hlinkClick r:id="rId17" action="ppaction://hlinksldjump"/>
            <a:extLst>
              <a:ext uri="{FF2B5EF4-FFF2-40B4-BE49-F238E27FC236}">
                <a16:creationId xmlns:a16="http://schemas.microsoft.com/office/drawing/2014/main" id="{7BF26069-9229-7916-DA6D-41198A4F161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4" name="矩形 13">
            <a:hlinkClick r:id="rId18" action="ppaction://hlinksldjump"/>
            <a:extLst>
              <a:ext uri="{FF2B5EF4-FFF2-40B4-BE49-F238E27FC236}">
                <a16:creationId xmlns:a16="http://schemas.microsoft.com/office/drawing/2014/main" id="{966B5049-A406-8E37-A131-77E53F1A849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1</a:t>
            </a:r>
          </a:p>
        </p:txBody>
      </p:sp>
      <p:sp>
        <p:nvSpPr>
          <p:cNvPr id="13" name="矩形 12">
            <a:hlinkClick r:id="rId18" action="ppaction://hlinksldjump"/>
            <a:extLst>
              <a:ext uri="{FF2B5EF4-FFF2-40B4-BE49-F238E27FC236}">
                <a16:creationId xmlns:a16="http://schemas.microsoft.com/office/drawing/2014/main" id="{61A514CF-23D0-A873-FD5B-F3B87B07F75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64489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al-Scene Based Simulators</a:t>
            </a:r>
          </a:p>
        </p:txBody>
      </p:sp>
      <p:sp>
        <p:nvSpPr>
          <p:cNvPr id="12" name="矩形 11">
            <a:hlinkClick r:id="rId18" action="ppaction://hlinksldjump"/>
            <a:extLst>
              <a:ext uri="{FF2B5EF4-FFF2-40B4-BE49-F238E27FC236}">
                <a16:creationId xmlns:a16="http://schemas.microsoft.com/office/drawing/2014/main" id="{21108CB4-DE3A-6A79-98D8-CCD8C08EFCD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FEDCD639-49B3-EF4F-F338-6A365F6162D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0" name="矩形 9">
            <a:hlinkClick r:id="rId19" action="ppaction://hlinksldjump"/>
            <a:extLst>
              <a:ext uri="{FF2B5EF4-FFF2-40B4-BE49-F238E27FC236}">
                <a16:creationId xmlns:a16="http://schemas.microsoft.com/office/drawing/2014/main" id="{C73ACD85-2F46-2EEF-9D47-57D77A12F79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9" name="矩形 8">
            <a:hlinkClick r:id="rId19" action="ppaction://hlinksldjump"/>
            <a:extLst>
              <a:ext uri="{FF2B5EF4-FFF2-40B4-BE49-F238E27FC236}">
                <a16:creationId xmlns:a16="http://schemas.microsoft.com/office/drawing/2014/main" id="{06A7BA10-D54F-04C2-413B-865CA033008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18128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General Simulator</a:t>
            </a:r>
          </a:p>
        </p:txBody>
      </p:sp>
      <p:sp>
        <p:nvSpPr>
          <p:cNvPr id="8" name="矩形 7">
            <a:hlinkClick r:id="rId19" action="ppaction://hlinksldjump"/>
            <a:extLst>
              <a:ext uri="{FF2B5EF4-FFF2-40B4-BE49-F238E27FC236}">
                <a16:creationId xmlns:a16="http://schemas.microsoft.com/office/drawing/2014/main" id="{6010E2DE-0F67-F6E2-5533-D2377E3C336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矩形 6">
            <a:hlinkClick r:id="rId20" action="ppaction://hlinksldjump"/>
            <a:extLst>
              <a:ext uri="{FF2B5EF4-FFF2-40B4-BE49-F238E27FC236}">
                <a16:creationId xmlns:a16="http://schemas.microsoft.com/office/drawing/2014/main" id="{6FF58241-8709-62A6-9C87-A1745CA6E27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6" name="矩形 5">
            <a:hlinkClick r:id="rId20" action="ppaction://hlinksldjump"/>
            <a:extLst>
              <a:ext uri="{FF2B5EF4-FFF2-40B4-BE49-F238E27FC236}">
                <a16:creationId xmlns:a16="http://schemas.microsoft.com/office/drawing/2014/main" id="{1D763B8A-6494-A827-BDC6-A1165896BCF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" name="矩形 4">
            <a:hlinkClick r:id="rId20" action="ppaction://hlinksldjump"/>
            <a:extLst>
              <a:ext uri="{FF2B5EF4-FFF2-40B4-BE49-F238E27FC236}">
                <a16:creationId xmlns:a16="http://schemas.microsoft.com/office/drawing/2014/main" id="{401F7F1B-BA4D-D464-80B6-57D79418D35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C27D8C70-C52E-29F2-7EB1-FC34417B0595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Types of Simulato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3484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矩形 138">
            <a:hlinkClick r:id="rId29" action="ppaction://hlinksldjump"/>
            <a:extLst>
              <a:ext uri="{FF2B5EF4-FFF2-40B4-BE49-F238E27FC236}">
                <a16:creationId xmlns:a16="http://schemas.microsoft.com/office/drawing/2014/main" id="{746DBDC5-2ACF-EC3C-3DE7-0758882266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5</a:t>
            </a:r>
          </a:p>
        </p:txBody>
      </p:sp>
      <p:sp>
        <p:nvSpPr>
          <p:cNvPr id="138" name="矩形 137">
            <a:hlinkClick r:id="rId29" action="ppaction://hlinksldjump"/>
            <a:extLst>
              <a:ext uri="{FF2B5EF4-FFF2-40B4-BE49-F238E27FC236}">
                <a16:creationId xmlns:a16="http://schemas.microsoft.com/office/drawing/2014/main" id="{89FCD36A-3150-EA2C-5331-756D33E575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&amp; Future Directions</a:t>
            </a:r>
          </a:p>
        </p:txBody>
      </p:sp>
      <p:sp>
        <p:nvSpPr>
          <p:cNvPr id="137" name="矩形 136">
            <a:hlinkClick r:id="rId29" action="ppaction://hlinksldjump"/>
            <a:extLst>
              <a:ext uri="{FF2B5EF4-FFF2-40B4-BE49-F238E27FC236}">
                <a16:creationId xmlns:a16="http://schemas.microsoft.com/office/drawing/2014/main" id="{FE3B1E83-F858-A084-CC15-A2818AEAB99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36" name="矩形 135">
            <a:hlinkClick r:id="rId30" action="ppaction://hlinksldjump"/>
            <a:extLst>
              <a:ext uri="{FF2B5EF4-FFF2-40B4-BE49-F238E27FC236}">
                <a16:creationId xmlns:a16="http://schemas.microsoft.com/office/drawing/2014/main" id="{911B31E3-8D96-52F0-C874-E565D4BB361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9</a:t>
            </a:r>
          </a:p>
        </p:txBody>
      </p:sp>
      <p:sp>
        <p:nvSpPr>
          <p:cNvPr id="135" name="矩形 134">
            <a:hlinkClick r:id="rId30" action="ppaction://hlinksldjump"/>
            <a:extLst>
              <a:ext uri="{FF2B5EF4-FFF2-40B4-BE49-F238E27FC236}">
                <a16:creationId xmlns:a16="http://schemas.microsoft.com/office/drawing/2014/main" id="{B38368C4-8F27-0882-AF29-7C3FEB1D495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96395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134" name="矩形 133">
            <a:hlinkClick r:id="rId30" action="ppaction://hlinksldjump"/>
            <a:extLst>
              <a:ext uri="{FF2B5EF4-FFF2-40B4-BE49-F238E27FC236}">
                <a16:creationId xmlns:a16="http://schemas.microsoft.com/office/drawing/2014/main" id="{59947D6B-0C6B-3873-C27D-0BC63C80589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33" name="矩形 132">
            <a:hlinkClick r:id="rId31" action="ppaction://hlinksldjump"/>
            <a:extLst>
              <a:ext uri="{FF2B5EF4-FFF2-40B4-BE49-F238E27FC236}">
                <a16:creationId xmlns:a16="http://schemas.microsoft.com/office/drawing/2014/main" id="{0A94CB5C-F94D-4572-89E6-586E4DD9A05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5</a:t>
            </a:r>
          </a:p>
        </p:txBody>
      </p:sp>
      <p:sp>
        <p:nvSpPr>
          <p:cNvPr id="132" name="矩形 131">
            <a:hlinkClick r:id="rId31" action="ppaction://hlinksldjump"/>
            <a:extLst>
              <a:ext uri="{FF2B5EF4-FFF2-40B4-BE49-F238E27FC236}">
                <a16:creationId xmlns:a16="http://schemas.microsoft.com/office/drawing/2014/main" id="{D51EDA22-7874-6C83-5906-219AC0B8AFB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131" name="矩形 130">
            <a:hlinkClick r:id="rId31" action="ppaction://hlinksldjump"/>
            <a:extLst>
              <a:ext uri="{FF2B5EF4-FFF2-40B4-BE49-F238E27FC236}">
                <a16:creationId xmlns:a16="http://schemas.microsoft.com/office/drawing/2014/main" id="{00DEFEC9-4393-F92C-AC13-3AA221376E2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0" name="矩形 129">
            <a:hlinkClick r:id="rId32" action="ppaction://hlinksldjump"/>
            <a:extLst>
              <a:ext uri="{FF2B5EF4-FFF2-40B4-BE49-F238E27FC236}">
                <a16:creationId xmlns:a16="http://schemas.microsoft.com/office/drawing/2014/main" id="{5C24DFCD-719E-2813-6E87-1400ED0C288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5</a:t>
            </a:r>
          </a:p>
        </p:txBody>
      </p:sp>
      <p:sp>
        <p:nvSpPr>
          <p:cNvPr id="129" name="矩形 128">
            <a:hlinkClick r:id="rId32" action="ppaction://hlinksldjump"/>
            <a:extLst>
              <a:ext uri="{FF2B5EF4-FFF2-40B4-BE49-F238E27FC236}">
                <a16:creationId xmlns:a16="http://schemas.microsoft.com/office/drawing/2014/main" id="{199A15E6-42A5-3C35-6B53-798E4ACD73E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128" name="矩形 127">
            <a:hlinkClick r:id="rId32" action="ppaction://hlinksldjump"/>
            <a:extLst>
              <a:ext uri="{FF2B5EF4-FFF2-40B4-BE49-F238E27FC236}">
                <a16:creationId xmlns:a16="http://schemas.microsoft.com/office/drawing/2014/main" id="{6B21F54F-82F9-1128-A995-3793611361F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7" name="矩形 126">
            <a:hlinkClick r:id="rId33" action="ppaction://hlinksldjump"/>
            <a:extLst>
              <a:ext uri="{FF2B5EF4-FFF2-40B4-BE49-F238E27FC236}">
                <a16:creationId xmlns:a16="http://schemas.microsoft.com/office/drawing/2014/main" id="{D92C6FC0-4C3E-0D4F-18AB-8B8F403B0D6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5</a:t>
            </a:r>
          </a:p>
        </p:txBody>
      </p:sp>
      <p:sp>
        <p:nvSpPr>
          <p:cNvPr id="126" name="矩形 125">
            <a:hlinkClick r:id="rId33" action="ppaction://hlinksldjump"/>
            <a:extLst>
              <a:ext uri="{FF2B5EF4-FFF2-40B4-BE49-F238E27FC236}">
                <a16:creationId xmlns:a16="http://schemas.microsoft.com/office/drawing/2014/main" id="{350BF380-2546-C1B5-BBED-8A880731627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125" name="矩形 124">
            <a:hlinkClick r:id="rId33" action="ppaction://hlinksldjump"/>
            <a:extLst>
              <a:ext uri="{FF2B5EF4-FFF2-40B4-BE49-F238E27FC236}">
                <a16:creationId xmlns:a16="http://schemas.microsoft.com/office/drawing/2014/main" id="{3411082A-4E16-2C39-9988-63988038993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4" name="矩形 123">
            <a:hlinkClick r:id="rId34" action="ppaction://hlinksldjump"/>
            <a:extLst>
              <a:ext uri="{FF2B5EF4-FFF2-40B4-BE49-F238E27FC236}">
                <a16:creationId xmlns:a16="http://schemas.microsoft.com/office/drawing/2014/main" id="{16078116-0AE6-D12C-4188-D9E79633E4D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123" name="矩形 122">
            <a:hlinkClick r:id="rId34" action="ppaction://hlinksldjump"/>
            <a:extLst>
              <a:ext uri="{FF2B5EF4-FFF2-40B4-BE49-F238E27FC236}">
                <a16:creationId xmlns:a16="http://schemas.microsoft.com/office/drawing/2014/main" id="{9FB7A3CA-888E-D26B-E113-940E149D20E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264489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122" name="矩形 121">
            <a:hlinkClick r:id="rId34" action="ppaction://hlinksldjump"/>
            <a:extLst>
              <a:ext uri="{FF2B5EF4-FFF2-40B4-BE49-F238E27FC236}">
                <a16:creationId xmlns:a16="http://schemas.microsoft.com/office/drawing/2014/main" id="{1D13AD71-4B7B-9259-DA8A-B5434300FF4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1" name="矩形 120">
            <a:hlinkClick r:id="rId35" action="ppaction://hlinksldjump"/>
            <a:extLst>
              <a:ext uri="{FF2B5EF4-FFF2-40B4-BE49-F238E27FC236}">
                <a16:creationId xmlns:a16="http://schemas.microsoft.com/office/drawing/2014/main" id="{EBC22449-A07C-8011-BF15-E1B09F6318D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120" name="矩形 119">
            <a:hlinkClick r:id="rId35" action="ppaction://hlinksldjump"/>
            <a:extLst>
              <a:ext uri="{FF2B5EF4-FFF2-40B4-BE49-F238E27FC236}">
                <a16:creationId xmlns:a16="http://schemas.microsoft.com/office/drawing/2014/main" id="{284C1F91-3393-3D37-65AE-2DE3F3BAD4B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977959" y="218128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119" name="矩形 118">
            <a:hlinkClick r:id="rId35" action="ppaction://hlinksldjump"/>
            <a:extLst>
              <a:ext uri="{FF2B5EF4-FFF2-40B4-BE49-F238E27FC236}">
                <a16:creationId xmlns:a16="http://schemas.microsoft.com/office/drawing/2014/main" id="{E777AC13-2CB7-BBD8-392D-9F7D77827C1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8" name="矩形 117">
            <a:hlinkClick r:id="rId36" action="ppaction://hlinksldjump"/>
            <a:extLst>
              <a:ext uri="{FF2B5EF4-FFF2-40B4-BE49-F238E27FC236}">
                <a16:creationId xmlns:a16="http://schemas.microsoft.com/office/drawing/2014/main" id="{7D75179F-FDFF-B0DC-2C2F-E51349D19CBD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7" name="矩形 116">
            <a:hlinkClick r:id="rId36" action="ppaction://hlinksldjump"/>
            <a:extLst>
              <a:ext uri="{FF2B5EF4-FFF2-40B4-BE49-F238E27FC236}">
                <a16:creationId xmlns:a16="http://schemas.microsoft.com/office/drawing/2014/main" id="{5EDA7468-497D-1E1B-BFA2-2B8B080362D5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977959" y="171767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116" name="矩形 115">
            <a:hlinkClick r:id="rId36" action="ppaction://hlinksldjump"/>
            <a:extLst>
              <a:ext uri="{FF2B5EF4-FFF2-40B4-BE49-F238E27FC236}">
                <a16:creationId xmlns:a16="http://schemas.microsoft.com/office/drawing/2014/main" id="{6A1F8ABF-9F15-2E04-6DCE-8A714FA54C8F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5" name="标题 114">
            <a:extLst>
              <a:ext uri="{FF2B5EF4-FFF2-40B4-BE49-F238E27FC236}">
                <a16:creationId xmlns:a16="http://schemas.microsoft.com/office/drawing/2014/main" id="{65C85364-B60E-B769-3AA2-2C2BC1C14334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/>
        <p:txBody>
          <a:bodyPr vert="horz"/>
          <a:lstStyle/>
          <a:p>
            <a:r>
              <a:rPr lang="en-US"/>
              <a:t>Tools &amp; Tasks</a:t>
            </a:r>
          </a:p>
        </p:txBody>
      </p:sp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0CDD8E54-9DA8-F4B4-451D-D6D8790676A6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590526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7" imgW="473" imgH="476" progId="TCLayout.ActiveDocument.1">
                  <p:embed/>
                </p:oleObj>
              </mc:Choice>
              <mc:Fallback>
                <p:oleObj name="think-cell 幻灯片" r:id="rId37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4343407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C89D4A5-AAB9-CE69-E72D-5CB687288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38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General Simulator</a:t>
            </a:r>
            <a:endParaRPr 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3D371D3-9251-16AA-0BCF-B0682E0BDC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667187"/>
            <a:ext cx="12192000" cy="2161953"/>
          </a:xfrm>
          <a:prstGeom prst="rect">
            <a:avLst/>
          </a:prstGeom>
        </p:spPr>
      </p:pic>
      <p:sp>
        <p:nvSpPr>
          <p:cNvPr id="9" name="ee4pContent1">
            <a:extLst>
              <a:ext uri="{FF2B5EF4-FFF2-40B4-BE49-F238E27FC236}">
                <a16:creationId xmlns:a16="http://schemas.microsoft.com/office/drawing/2014/main" id="{FEE7E476-CAFD-C318-3599-72828A5D414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69213" y="3969495"/>
            <a:ext cx="5624836" cy="2585130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numCol="2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dirty="0">
                <a:latin typeface="+mn-lt"/>
              </a:rPr>
              <a:t>通用模拟器</a:t>
            </a:r>
          </a:p>
          <a:p>
            <a:pPr lvl="1"/>
            <a:r>
              <a:rPr lang="zh-CN" altLang="en-US" dirty="0">
                <a:latin typeface="+mn-lt"/>
              </a:rPr>
              <a:t>∘ 表示表现出色</a:t>
            </a:r>
          </a:p>
          <a:p>
            <a:pPr lvl="1"/>
            <a:r>
              <a:rPr lang="en-US" altLang="zh-CN" dirty="0">
                <a:latin typeface="+mn-lt"/>
              </a:rPr>
              <a:t>HFPS: </a:t>
            </a:r>
            <a:r>
              <a:rPr lang="zh-CN" altLang="en-US" dirty="0">
                <a:latin typeface="+mn-lt"/>
              </a:rPr>
              <a:t>高保真物理模拟；</a:t>
            </a:r>
          </a:p>
          <a:p>
            <a:pPr lvl="1"/>
            <a:r>
              <a:rPr lang="en-US" altLang="zh-CN" dirty="0">
                <a:latin typeface="+mn-lt"/>
              </a:rPr>
              <a:t>HQGR: </a:t>
            </a:r>
            <a:r>
              <a:rPr lang="zh-CN" altLang="en-US" dirty="0">
                <a:latin typeface="+mn-lt"/>
              </a:rPr>
              <a:t>高质量图形渲染；</a:t>
            </a:r>
          </a:p>
          <a:p>
            <a:pPr lvl="1"/>
            <a:r>
              <a:rPr lang="en-US" altLang="zh-CN" dirty="0">
                <a:latin typeface="+mn-lt"/>
              </a:rPr>
              <a:t>RRL: </a:t>
            </a:r>
            <a:r>
              <a:rPr lang="zh-CN" altLang="en-US" dirty="0">
                <a:latin typeface="+mn-lt"/>
              </a:rPr>
              <a:t>丰富的机器人库；</a:t>
            </a:r>
          </a:p>
          <a:p>
            <a:pPr lvl="1"/>
            <a:r>
              <a:rPr lang="en-US" altLang="zh-CN" dirty="0">
                <a:latin typeface="+mn-lt"/>
              </a:rPr>
              <a:t>DLS: </a:t>
            </a:r>
            <a:r>
              <a:rPr lang="zh-CN" altLang="en-US" dirty="0">
                <a:latin typeface="+mn-lt"/>
              </a:rPr>
              <a:t>深度学习支持；</a:t>
            </a:r>
          </a:p>
          <a:p>
            <a:pPr lvl="1"/>
            <a:r>
              <a:rPr lang="en-US" altLang="zh-CN" dirty="0">
                <a:latin typeface="+mn-lt"/>
              </a:rPr>
              <a:t>LSPC: </a:t>
            </a:r>
            <a:r>
              <a:rPr lang="zh-CN" altLang="en-US" dirty="0">
                <a:latin typeface="+mn-lt"/>
              </a:rPr>
              <a:t>大规模并行计算；</a:t>
            </a:r>
          </a:p>
          <a:p>
            <a:pPr lvl="1"/>
            <a:r>
              <a:rPr lang="en-US" altLang="zh-CN" dirty="0">
                <a:latin typeface="+mn-lt"/>
              </a:rPr>
              <a:t>ROS: </a:t>
            </a:r>
            <a:r>
              <a:rPr lang="zh-CN" altLang="en-US" dirty="0">
                <a:latin typeface="+mn-lt"/>
              </a:rPr>
              <a:t>与 </a:t>
            </a:r>
            <a:r>
              <a:rPr lang="en-US" altLang="zh-CN" dirty="0">
                <a:latin typeface="+mn-lt"/>
              </a:rPr>
              <a:t>ROS </a:t>
            </a:r>
            <a:r>
              <a:rPr lang="zh-CN" altLang="en-US" dirty="0">
                <a:latin typeface="+mn-lt"/>
              </a:rPr>
              <a:t>的紧密集成；</a:t>
            </a:r>
          </a:p>
          <a:p>
            <a:pPr lvl="1"/>
            <a:r>
              <a:rPr lang="en-US" altLang="zh-CN" dirty="0">
                <a:latin typeface="+mn-lt"/>
              </a:rPr>
              <a:t>MSS: </a:t>
            </a:r>
            <a:r>
              <a:rPr lang="zh-CN" altLang="en-US" dirty="0">
                <a:latin typeface="+mn-lt"/>
              </a:rPr>
              <a:t>多传感器模拟；</a:t>
            </a:r>
          </a:p>
          <a:p>
            <a:pPr lvl="1"/>
            <a:r>
              <a:rPr lang="en-US" altLang="zh-CN" dirty="0">
                <a:latin typeface="+mn-lt"/>
              </a:rPr>
              <a:t>CP: </a:t>
            </a:r>
            <a:r>
              <a:rPr lang="zh-CN" altLang="en-US" dirty="0">
                <a:latin typeface="+mn-lt"/>
              </a:rPr>
              <a:t>跨平台；</a:t>
            </a:r>
          </a:p>
          <a:p>
            <a:pPr lvl="1"/>
            <a:r>
              <a:rPr lang="en-US" altLang="zh-CN" dirty="0">
                <a:latin typeface="+mn-lt"/>
              </a:rPr>
              <a:t>Nav: </a:t>
            </a:r>
            <a:r>
              <a:rPr lang="zh-CN" altLang="en-US" dirty="0">
                <a:latin typeface="+mn-lt"/>
              </a:rPr>
              <a:t>机器人导航； </a:t>
            </a:r>
          </a:p>
          <a:p>
            <a:pPr lvl="1"/>
            <a:r>
              <a:rPr lang="en-US" altLang="zh-CN" dirty="0">
                <a:latin typeface="+mn-lt"/>
              </a:rPr>
              <a:t>AD: </a:t>
            </a:r>
            <a:r>
              <a:rPr lang="zh-CN" altLang="en-US" dirty="0">
                <a:latin typeface="+mn-lt"/>
              </a:rPr>
              <a:t>自动驾驶；</a:t>
            </a:r>
          </a:p>
          <a:p>
            <a:pPr lvl="1"/>
            <a:r>
              <a:rPr lang="en-US" altLang="zh-CN" dirty="0">
                <a:latin typeface="+mn-lt"/>
              </a:rPr>
              <a:t>RL: </a:t>
            </a:r>
            <a:r>
              <a:rPr lang="zh-CN" altLang="en-US" dirty="0">
                <a:latin typeface="+mn-lt"/>
              </a:rPr>
              <a:t>强化学习；</a:t>
            </a:r>
          </a:p>
          <a:p>
            <a:pPr lvl="1"/>
            <a:r>
              <a:rPr lang="en-US" altLang="zh-CN" dirty="0">
                <a:latin typeface="+mn-lt"/>
              </a:rPr>
              <a:t>LSPS: </a:t>
            </a:r>
            <a:r>
              <a:rPr lang="zh-CN" altLang="en-US" dirty="0">
                <a:latin typeface="+mn-lt"/>
              </a:rPr>
              <a:t>大规模并行模拟； </a:t>
            </a:r>
          </a:p>
          <a:p>
            <a:pPr lvl="1"/>
            <a:r>
              <a:rPr lang="en-US" altLang="zh-CN" dirty="0">
                <a:latin typeface="+mn-lt"/>
              </a:rPr>
              <a:t>MR: </a:t>
            </a:r>
            <a:r>
              <a:rPr lang="zh-CN" altLang="en-US" dirty="0">
                <a:latin typeface="+mn-lt"/>
              </a:rPr>
              <a:t>多机器人系统；</a:t>
            </a:r>
          </a:p>
          <a:p>
            <a:pPr lvl="1"/>
            <a:r>
              <a:rPr lang="en-US" altLang="zh-CN" dirty="0">
                <a:latin typeface="+mn-lt"/>
              </a:rPr>
              <a:t>RS: </a:t>
            </a:r>
            <a:r>
              <a:rPr lang="zh-CN" altLang="en-US" dirty="0">
                <a:latin typeface="+mn-lt"/>
              </a:rPr>
              <a:t>机器人模拟。</a:t>
            </a:r>
            <a:endParaRPr lang="en-US" dirty="0">
              <a:latin typeface="+mn-lt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5F6AC880-DD4D-05AD-5E3A-25A4038DF0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5217" y="4129681"/>
            <a:ext cx="6771754" cy="2262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4139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4B27DB-8B51-2DC5-6D00-7FA6CB497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B27DB-8B51-2DC5-6D00-7FA6CB497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General Simulator——Isaac Sim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0960" y="1825625"/>
            <a:ext cx="5482839" cy="4351338"/>
          </a:xfrm>
        </p:spPr>
        <p:txBody>
          <a:bodyPr/>
          <a:lstStyle/>
          <a:p>
            <a:r>
              <a:rPr lang="zh-CN" altLang="en-US" dirty="0"/>
              <a:t>一个用于机器人和人工智能研究的先进模拟平台。 它具有高保真物理模拟、实时光线追踪、广泛的机器人模型库和深度学习支持。 它的应用场景包括自动驾驶、工业自动化和人机交互</a:t>
            </a:r>
            <a:endParaRPr 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965E305-288C-AEE0-5044-57F2D378CE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009" y="2059537"/>
            <a:ext cx="5249047" cy="2947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213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4B27DB-8B51-2DC5-6D00-7FA6CB497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631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General Simulator——Isaac Gym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0960" y="1825625"/>
            <a:ext cx="5482839" cy="4351338"/>
          </a:xfrm>
        </p:spPr>
        <p:txBody>
          <a:bodyPr/>
          <a:lstStyle/>
          <a:p>
            <a:r>
              <a:rPr lang="en-US" altLang="zh-CN" dirty="0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77998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4B27DB-8B51-2DC5-6D00-7FA6CB497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229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B27DB-8B51-2DC5-6D00-7FA6CB497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General Simulator——Gazebo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0960" y="1825625"/>
            <a:ext cx="5482839" cy="4351338"/>
          </a:xfrm>
        </p:spPr>
        <p:txBody>
          <a:bodyPr/>
          <a:lstStyle/>
          <a:p>
            <a:r>
              <a:rPr lang="zh-CN" altLang="en-US" dirty="0"/>
              <a:t>一个用于机器人研究的开源模拟器。 它拥有广泛的机器人库，并与 </a:t>
            </a:r>
            <a:r>
              <a:rPr lang="en-US" altLang="zh-CN" dirty="0"/>
              <a:t>ROS </a:t>
            </a:r>
            <a:r>
              <a:rPr lang="zh-CN" altLang="en-US" dirty="0"/>
              <a:t>紧密集成。 它支持各种传感器的模拟，并提供大量预构建的机器人模型和环境。 它主要用于机器人导航和控制以及多机器人系统</a:t>
            </a:r>
            <a:endParaRPr 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CE6D856-69D5-31E8-E4EB-B895916D95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121" y="1960382"/>
            <a:ext cx="5482839" cy="2937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4147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4B27DB-8B51-2DC5-6D00-7FA6CB497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22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B27DB-8B51-2DC5-6D00-7FA6CB497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General Simulator——</a:t>
            </a:r>
            <a:r>
              <a:rPr lang="en-US" altLang="zh-CN" sz="4400" b="1" dirty="0" err="1">
                <a:solidFill>
                  <a:schemeClr val="tx1"/>
                </a:solidFill>
              </a:rPr>
              <a:t>PyBullet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0960" y="1825625"/>
            <a:ext cx="5482839" cy="4351338"/>
          </a:xfrm>
        </p:spPr>
        <p:txBody>
          <a:bodyPr/>
          <a:lstStyle/>
          <a:p>
            <a:r>
              <a:rPr lang="en-US" altLang="zh-CN" dirty="0" err="1"/>
              <a:t>PyBullet</a:t>
            </a:r>
            <a:r>
              <a:rPr lang="zh-CN" altLang="en-US" dirty="0"/>
              <a:t>是 </a:t>
            </a:r>
            <a:r>
              <a:rPr lang="en-US" altLang="zh-CN" dirty="0"/>
              <a:t>Bullet </a:t>
            </a:r>
            <a:r>
              <a:rPr lang="zh-CN" altLang="en-US" dirty="0"/>
              <a:t>物理引擎的 </a:t>
            </a:r>
            <a:r>
              <a:rPr lang="en-US" altLang="zh-CN" dirty="0"/>
              <a:t>Python </a:t>
            </a:r>
            <a:r>
              <a:rPr lang="zh-CN" altLang="en-US" dirty="0"/>
              <a:t>接口。 它易于使用，并具有多样化的传感器模拟和深度学习集成。 </a:t>
            </a:r>
            <a:r>
              <a:rPr lang="en-US" altLang="zh-CN" dirty="0" err="1"/>
              <a:t>PyBullet</a:t>
            </a:r>
            <a:r>
              <a:rPr lang="en-US" altLang="zh-CN" dirty="0"/>
              <a:t> </a:t>
            </a:r>
            <a:r>
              <a:rPr lang="zh-CN" altLang="en-US" dirty="0"/>
              <a:t>支持实时物理模拟，包括刚体动力学、碰撞检测和约束求解</a:t>
            </a:r>
            <a:endParaRPr 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A5338553-861A-3CFC-3FBF-4596D02A20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7967" y="1898801"/>
            <a:ext cx="5482839" cy="306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42143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4B27DB-8B51-2DC5-6D00-7FA6CB497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2916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B27DB-8B51-2DC5-6D00-7FA6CB497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General Simulator——</a:t>
            </a:r>
            <a:r>
              <a:rPr lang="en-US" altLang="zh-CN" sz="4400" b="1" dirty="0" err="1">
                <a:solidFill>
                  <a:schemeClr val="tx1"/>
                </a:solidFill>
              </a:rPr>
              <a:t>Webots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0960" y="1825625"/>
            <a:ext cx="5482839" cy="4351338"/>
          </a:xfrm>
        </p:spPr>
        <p:txBody>
          <a:bodyPr/>
          <a:lstStyle/>
          <a:p>
            <a:r>
              <a:rPr lang="en-US" altLang="zh-CN" dirty="0"/>
              <a:t>1</a:t>
            </a:r>
            <a:endParaRPr 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47A6F48-3D59-163E-B61C-069C7B075D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1364" y="1690688"/>
            <a:ext cx="4321246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80833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4B27DB-8B51-2DC5-6D00-7FA6CB497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630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B27DB-8B51-2DC5-6D00-7FA6CB497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General Simulator——</a:t>
            </a:r>
            <a:r>
              <a:rPr lang="en-US" altLang="zh-CN" sz="4400" b="1" dirty="0" err="1">
                <a:solidFill>
                  <a:schemeClr val="tx1"/>
                </a:solidFill>
              </a:rPr>
              <a:t>MuJoCo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0960" y="1825625"/>
            <a:ext cx="5482839" cy="4351338"/>
          </a:xfrm>
        </p:spPr>
        <p:txBody>
          <a:bodyPr/>
          <a:lstStyle/>
          <a:p>
            <a:r>
              <a:rPr lang="en-US" altLang="zh-CN" dirty="0"/>
              <a:t>1</a:t>
            </a:r>
            <a:endParaRPr 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51CF6D51-969E-16B4-AF9C-BC0A4739DD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2284" y="1549811"/>
            <a:ext cx="5428676" cy="424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5693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4B27DB-8B51-2DC5-6D00-7FA6CB497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7770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B27DB-8B51-2DC5-6D00-7FA6CB497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General Simulator——Unity ML-Agents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0960" y="1825625"/>
            <a:ext cx="5482839" cy="4351338"/>
          </a:xfrm>
        </p:spPr>
        <p:txBody>
          <a:bodyPr/>
          <a:lstStyle/>
          <a:p>
            <a:r>
              <a:rPr lang="en-US" altLang="zh-CN" dirty="0"/>
              <a:t>1</a:t>
            </a:r>
            <a:endParaRPr 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F6C6096-E846-901F-563A-4EAF3D4681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472" y="1825625"/>
            <a:ext cx="5407488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613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4B27DB-8B51-2DC5-6D00-7FA6CB497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80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B27DB-8B51-2DC5-6D00-7FA6CB497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General Simulator——</a:t>
            </a:r>
            <a:r>
              <a:rPr lang="en-US" altLang="zh-CN" sz="4400" b="1" dirty="0" err="1">
                <a:solidFill>
                  <a:schemeClr val="tx1"/>
                </a:solidFill>
              </a:rPr>
              <a:t>AirSim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0960" y="1825625"/>
            <a:ext cx="5482839" cy="4351338"/>
          </a:xfrm>
        </p:spPr>
        <p:txBody>
          <a:bodyPr/>
          <a:lstStyle/>
          <a:p>
            <a:r>
              <a:rPr lang="en-US" altLang="zh-CN" dirty="0"/>
              <a:t>1</a:t>
            </a:r>
            <a:endParaRPr 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8C3545E-A359-5C48-6D7E-171EE246D5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271" y="2055376"/>
            <a:ext cx="4827689" cy="274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0288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4B27DB-8B51-2DC5-6D00-7FA6CB497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48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B27DB-8B51-2DC5-6D00-7FA6CB497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General Simulator——MORSE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0960" y="1825625"/>
            <a:ext cx="5482839" cy="4351338"/>
          </a:xfrm>
        </p:spPr>
        <p:txBody>
          <a:bodyPr/>
          <a:lstStyle/>
          <a:p>
            <a:r>
              <a:rPr lang="en-US" altLang="zh-CN" dirty="0"/>
              <a:t>1</a:t>
            </a:r>
            <a:endParaRPr 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9D7A628-08A7-0B61-D85D-1E2EAE1709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340" y="1825625"/>
            <a:ext cx="4980702" cy="3713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70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CB810C-01DB-C733-01BC-EEED5CBC33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96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图片 7" descr="图示&#10;&#10;描述已自动生成">
            <a:extLst>
              <a:ext uri="{FF2B5EF4-FFF2-40B4-BE49-F238E27FC236}">
                <a16:creationId xmlns:a16="http://schemas.microsoft.com/office/drawing/2014/main" id="{F30BE955-001C-3FD7-8A7D-D5F37B8C05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924" y="0"/>
            <a:ext cx="115241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4031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4B27DB-8B51-2DC5-6D00-7FA6CB497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4642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B27DB-8B51-2DC5-6D00-7FA6CB497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General Simulator——V-REP(</a:t>
            </a:r>
            <a:r>
              <a:rPr lang="en-US" altLang="zh-CN" sz="4400" b="1" dirty="0" err="1">
                <a:solidFill>
                  <a:schemeClr val="tx1"/>
                </a:solidFill>
              </a:rPr>
              <a:t>CoppeliaSim</a:t>
            </a:r>
            <a:r>
              <a:rPr lang="en-US" altLang="zh-CN" sz="4400" b="1" dirty="0">
                <a:solidFill>
                  <a:schemeClr val="tx1"/>
                </a:solidFill>
              </a:rPr>
              <a:t>)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0960" y="1825625"/>
            <a:ext cx="5482839" cy="4351338"/>
          </a:xfrm>
        </p:spPr>
        <p:txBody>
          <a:bodyPr/>
          <a:lstStyle/>
          <a:p>
            <a:r>
              <a:rPr lang="en-US" altLang="zh-CN" dirty="0"/>
              <a:t>1</a:t>
            </a:r>
            <a:endParaRPr 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E5127D64-6E0D-B655-CD22-1F483F481A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028" y="2117508"/>
            <a:ext cx="6266524" cy="343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71028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hlinkClick r:id="rId17" action="ppaction://hlinksldjump"/>
            <a:extLst>
              <a:ext uri="{FF2B5EF4-FFF2-40B4-BE49-F238E27FC236}">
                <a16:creationId xmlns:a16="http://schemas.microsoft.com/office/drawing/2014/main" id="{D0DC9FA1-C542-A203-B45F-20E8EB3D45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0</a:t>
            </a:r>
          </a:p>
        </p:txBody>
      </p:sp>
      <p:sp>
        <p:nvSpPr>
          <p:cNvPr id="16" name="矩形 15">
            <a:hlinkClick r:id="rId17" action="ppaction://hlinksldjump"/>
            <a:extLst>
              <a:ext uri="{FF2B5EF4-FFF2-40B4-BE49-F238E27FC236}">
                <a16:creationId xmlns:a16="http://schemas.microsoft.com/office/drawing/2014/main" id="{B8894ED9-3C79-F47E-A6B3-27B494E454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utomated Simulation Scene Construction</a:t>
            </a:r>
          </a:p>
        </p:txBody>
      </p:sp>
      <p:sp>
        <p:nvSpPr>
          <p:cNvPr id="15" name="矩形 14">
            <a:hlinkClick r:id="rId17" action="ppaction://hlinksldjump"/>
            <a:extLst>
              <a:ext uri="{FF2B5EF4-FFF2-40B4-BE49-F238E27FC236}">
                <a16:creationId xmlns:a16="http://schemas.microsoft.com/office/drawing/2014/main" id="{E2C9AEBD-503F-EF23-93CF-07B418157B3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160FB838-F268-B7AB-778F-DE0364608FB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3" name="矩形 12">
            <a:hlinkClick r:id="rId18" action="ppaction://hlinksldjump"/>
            <a:extLst>
              <a:ext uri="{FF2B5EF4-FFF2-40B4-BE49-F238E27FC236}">
                <a16:creationId xmlns:a16="http://schemas.microsoft.com/office/drawing/2014/main" id="{B8EB8D37-3A6D-9C75-7A64-788193379E3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1</a:t>
            </a:r>
          </a:p>
        </p:txBody>
      </p:sp>
      <p:sp>
        <p:nvSpPr>
          <p:cNvPr id="12" name="矩形 11">
            <a:hlinkClick r:id="rId18" action="ppaction://hlinksldjump"/>
            <a:extLst>
              <a:ext uri="{FF2B5EF4-FFF2-40B4-BE49-F238E27FC236}">
                <a16:creationId xmlns:a16="http://schemas.microsoft.com/office/drawing/2014/main" id="{8AEE4C37-C3E7-AD35-4680-EAF656E9B63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264489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Real-Scene Based Simulators</a:t>
            </a:r>
          </a:p>
        </p:txBody>
      </p:sp>
      <p:sp>
        <p:nvSpPr>
          <p:cNvPr id="11" name="矩形 10">
            <a:hlinkClick r:id="rId18" action="ppaction://hlinksldjump"/>
            <a:extLst>
              <a:ext uri="{FF2B5EF4-FFF2-40B4-BE49-F238E27FC236}">
                <a16:creationId xmlns:a16="http://schemas.microsoft.com/office/drawing/2014/main" id="{5EA2B1A5-F000-0420-25C4-06FCD368718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矩形 9">
            <a:hlinkClick r:id="rId19" action="ppaction://hlinksldjump"/>
            <a:extLst>
              <a:ext uri="{FF2B5EF4-FFF2-40B4-BE49-F238E27FC236}">
                <a16:creationId xmlns:a16="http://schemas.microsoft.com/office/drawing/2014/main" id="{E8F706EE-91C4-9000-32DB-F326D8DCD16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9" name="矩形 8">
            <a:hlinkClick r:id="rId19" action="ppaction://hlinksldjump"/>
            <a:extLst>
              <a:ext uri="{FF2B5EF4-FFF2-40B4-BE49-F238E27FC236}">
                <a16:creationId xmlns:a16="http://schemas.microsoft.com/office/drawing/2014/main" id="{D931BBC1-E468-29CE-53D3-0725C127AFE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18128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eneral Simulator</a:t>
            </a:r>
          </a:p>
        </p:txBody>
      </p:sp>
      <p:sp>
        <p:nvSpPr>
          <p:cNvPr id="8" name="矩形 7">
            <a:hlinkClick r:id="rId19" action="ppaction://hlinksldjump"/>
            <a:extLst>
              <a:ext uri="{FF2B5EF4-FFF2-40B4-BE49-F238E27FC236}">
                <a16:creationId xmlns:a16="http://schemas.microsoft.com/office/drawing/2014/main" id="{12EF8BE8-60A4-D78F-8A3D-2B13C5CA24E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矩形 6">
            <a:hlinkClick r:id="rId20" action="ppaction://hlinksldjump"/>
            <a:extLst>
              <a:ext uri="{FF2B5EF4-FFF2-40B4-BE49-F238E27FC236}">
                <a16:creationId xmlns:a16="http://schemas.microsoft.com/office/drawing/2014/main" id="{BF0958CF-FCAB-2ED5-2693-B790B84D90D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6" name="矩形 5">
            <a:hlinkClick r:id="rId20" action="ppaction://hlinksldjump"/>
            <a:extLst>
              <a:ext uri="{FF2B5EF4-FFF2-40B4-BE49-F238E27FC236}">
                <a16:creationId xmlns:a16="http://schemas.microsoft.com/office/drawing/2014/main" id="{5BAEA05E-434B-AAE0-C396-FB7907F2035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" name="矩形 4">
            <a:hlinkClick r:id="rId20" action="ppaction://hlinksldjump"/>
            <a:extLst>
              <a:ext uri="{FF2B5EF4-FFF2-40B4-BE49-F238E27FC236}">
                <a16:creationId xmlns:a16="http://schemas.microsoft.com/office/drawing/2014/main" id="{8C6026EB-315A-D4FB-D469-03AF6BFED0E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D909B2A6-8EDC-AF04-0EBF-439422B28998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Types of Simulato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7587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B6EF206-803E-EBB5-028C-A12EB8DE3B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26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Real-Scene Based Simulators</a:t>
            </a:r>
            <a:endParaRPr 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7D14970-5023-761E-8840-F2387B66C0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523436"/>
            <a:ext cx="12192000" cy="1606642"/>
          </a:xfrm>
          <a:prstGeom prst="rect">
            <a:avLst/>
          </a:prstGeom>
        </p:spPr>
      </p:pic>
      <p:sp>
        <p:nvSpPr>
          <p:cNvPr id="8" name="ee4pContent1">
            <a:extLst>
              <a:ext uri="{FF2B5EF4-FFF2-40B4-BE49-F238E27FC236}">
                <a16:creationId xmlns:a16="http://schemas.microsoft.com/office/drawing/2014/main" id="{7EE25D83-4929-480E-B5C8-933BA4860EF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77758" y="3814947"/>
            <a:ext cx="3702033" cy="2307365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zh-CN" altLang="en-US" sz="2000" dirty="0">
                <a:latin typeface="+mn-lt"/>
              </a:rPr>
              <a:t>基于真实场景的模拟器的比较</a:t>
            </a:r>
          </a:p>
          <a:p>
            <a:pPr lvl="1"/>
            <a:r>
              <a:rPr lang="zh-CN" altLang="en-US" sz="2000" dirty="0">
                <a:latin typeface="+mn-lt"/>
              </a:rPr>
              <a:t>对于传感器</a:t>
            </a:r>
          </a:p>
          <a:p>
            <a:pPr lvl="1"/>
            <a:r>
              <a:rPr lang="en-US" altLang="zh-CN" sz="2000" dirty="0">
                <a:latin typeface="+mn-lt"/>
              </a:rPr>
              <a:t>S </a:t>
            </a:r>
            <a:r>
              <a:rPr lang="zh-CN" altLang="en-US" sz="2000" dirty="0">
                <a:latin typeface="+mn-lt"/>
              </a:rPr>
              <a:t>指的是语义；</a:t>
            </a:r>
          </a:p>
          <a:p>
            <a:pPr lvl="1"/>
            <a:r>
              <a:rPr lang="en-US" altLang="zh-CN" sz="2000" dirty="0">
                <a:latin typeface="+mn-lt"/>
              </a:rPr>
              <a:t>L </a:t>
            </a:r>
            <a:r>
              <a:rPr lang="zh-CN" altLang="en-US" sz="2000" dirty="0">
                <a:latin typeface="+mn-lt"/>
              </a:rPr>
              <a:t>指的是激光雷达；</a:t>
            </a:r>
          </a:p>
          <a:p>
            <a:pPr lvl="1"/>
            <a:r>
              <a:rPr lang="en-US" altLang="zh-CN" sz="2000" dirty="0">
                <a:latin typeface="+mn-lt"/>
              </a:rPr>
              <a:t>A </a:t>
            </a:r>
            <a:r>
              <a:rPr lang="zh-CN" altLang="en-US" sz="2000" dirty="0">
                <a:latin typeface="+mn-lt"/>
              </a:rPr>
              <a:t>指的是音频</a:t>
            </a:r>
            <a:endParaRPr lang="en-US" sz="2000" dirty="0">
              <a:latin typeface="+mn-lt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93424CAF-D05F-C3E3-7CA4-73E35187CB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58108" y="3287232"/>
            <a:ext cx="7879222" cy="336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055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37831FD-11A0-A83A-8634-261BAEE2B9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745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Real-Scene Based Simulators——AI2-THOR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2576" y="1825625"/>
            <a:ext cx="6021223" cy="4667250"/>
          </a:xfrm>
        </p:spPr>
        <p:txBody>
          <a:bodyPr>
            <a:noAutofit/>
          </a:bodyPr>
          <a:lstStyle/>
          <a:p>
            <a:r>
              <a:rPr lang="zh-CN" altLang="en-US" sz="2000" dirty="0"/>
              <a:t>虽然 </a:t>
            </a:r>
            <a:r>
              <a:rPr lang="en-US" altLang="zh-CN" sz="2000" dirty="0"/>
              <a:t>AI2Thor </a:t>
            </a:r>
            <a:r>
              <a:rPr lang="zh-CN" altLang="en-US" sz="2000" dirty="0"/>
              <a:t>提供了大量交互式场景，但这些交互类似于 </a:t>
            </a:r>
            <a:r>
              <a:rPr lang="en-US" altLang="zh-CN" sz="2000" dirty="0" err="1"/>
              <a:t>VirtualHome</a:t>
            </a:r>
            <a:r>
              <a:rPr lang="en-US" altLang="zh-CN" sz="2000" dirty="0"/>
              <a:t> </a:t>
            </a:r>
            <a:r>
              <a:rPr lang="zh-CN" altLang="en-US" sz="2000" dirty="0"/>
              <a:t>中的交互，是基于脚本的，缺乏真实的物理交互。 这种设计足以满足不需要精细交互的具身任务</a:t>
            </a:r>
            <a:endParaRPr lang="en-US" altLang="zh-CN" sz="2000" dirty="0"/>
          </a:p>
          <a:p>
            <a:r>
              <a:rPr lang="en-US" altLang="zh-CN" sz="2000" dirty="0"/>
              <a:t>AI2-THOR </a:t>
            </a:r>
            <a:r>
              <a:rPr lang="zh-CN" altLang="en-US" sz="2000" dirty="0"/>
              <a:t>是一个基于 </a:t>
            </a:r>
            <a:r>
              <a:rPr lang="en-US" altLang="zh-CN" sz="2000" dirty="0"/>
              <a:t>Unity3D </a:t>
            </a:r>
            <a:r>
              <a:rPr lang="zh-CN" altLang="en-US" sz="2000" dirty="0"/>
              <a:t>的室内具身场景模拟器，由</a:t>
            </a:r>
            <a:r>
              <a:rPr lang="en-US" altLang="zh-CN" sz="2000" dirty="0"/>
              <a:t>Allen</a:t>
            </a:r>
            <a:r>
              <a:rPr lang="zh-CN" altLang="en-US" sz="2000" dirty="0"/>
              <a:t>人工智能研究所领导。 作为在真实世界中构建的高保真模拟器，</a:t>
            </a:r>
            <a:r>
              <a:rPr lang="en-US" altLang="zh-CN" sz="2000" dirty="0"/>
              <a:t>AI2-THOR </a:t>
            </a:r>
            <a:r>
              <a:rPr lang="zh-CN" altLang="en-US" sz="2000" dirty="0"/>
              <a:t>拥有丰富的交互式场景对象以及分配给它们的物理属性（例如打开</a:t>
            </a:r>
            <a:r>
              <a:rPr lang="en-US" altLang="zh-CN" sz="2000" dirty="0"/>
              <a:t>/</a:t>
            </a:r>
            <a:r>
              <a:rPr lang="zh-CN" altLang="en-US" sz="2000" dirty="0"/>
              <a:t>关闭甚至冷</a:t>
            </a:r>
            <a:r>
              <a:rPr lang="en-US" altLang="zh-CN" sz="2000" dirty="0"/>
              <a:t>/</a:t>
            </a:r>
            <a:r>
              <a:rPr lang="zh-CN" altLang="en-US" sz="2000" dirty="0"/>
              <a:t>热）。 </a:t>
            </a:r>
            <a:r>
              <a:rPr lang="en-US" altLang="zh-CN" sz="2000" dirty="0"/>
              <a:t>AI2-THOR </a:t>
            </a:r>
            <a:r>
              <a:rPr lang="zh-CN" altLang="en-US" sz="2000" dirty="0"/>
              <a:t>由两部分组成：</a:t>
            </a:r>
            <a:r>
              <a:rPr lang="en-US" altLang="zh-CN" sz="2000" dirty="0" err="1"/>
              <a:t>iTHOR</a:t>
            </a:r>
            <a:r>
              <a:rPr lang="en-US" altLang="zh-CN" sz="2000" dirty="0"/>
              <a:t> </a:t>
            </a:r>
            <a:r>
              <a:rPr lang="zh-CN" altLang="en-US" sz="2000" dirty="0"/>
              <a:t>和 </a:t>
            </a:r>
            <a:r>
              <a:rPr lang="en-US" altLang="zh-CN" sz="2000" dirty="0" err="1"/>
              <a:t>RoboTHOR</a:t>
            </a:r>
            <a:r>
              <a:rPr lang="zh-CN" altLang="en-US" sz="2000" dirty="0"/>
              <a:t>。 </a:t>
            </a:r>
            <a:r>
              <a:rPr lang="en-US" altLang="zh-CN" sz="2000" dirty="0" err="1"/>
              <a:t>iTHOR</a:t>
            </a:r>
            <a:r>
              <a:rPr lang="en-US" altLang="zh-CN" sz="2000" dirty="0"/>
              <a:t> </a:t>
            </a:r>
            <a:r>
              <a:rPr lang="zh-CN" altLang="en-US" sz="2000" dirty="0"/>
              <a:t>包含 </a:t>
            </a:r>
            <a:r>
              <a:rPr lang="en-US" altLang="zh-CN" sz="2000" dirty="0"/>
              <a:t>120 </a:t>
            </a:r>
            <a:r>
              <a:rPr lang="zh-CN" altLang="en-US" sz="2000" dirty="0"/>
              <a:t>间房间，分为厨房、卧室、浴室和客厅，拥有超过 </a:t>
            </a:r>
            <a:r>
              <a:rPr lang="en-US" altLang="zh-CN" sz="2000" dirty="0"/>
              <a:t>2000 </a:t>
            </a:r>
            <a:r>
              <a:rPr lang="zh-CN" altLang="en-US" sz="2000" dirty="0"/>
              <a:t>个独特的交互式物体，并支持多代理模拟；</a:t>
            </a:r>
            <a:r>
              <a:rPr lang="en-US" altLang="zh-CN" sz="2000" dirty="0" err="1"/>
              <a:t>RoboTHOR</a:t>
            </a:r>
            <a:r>
              <a:rPr lang="en-US" altLang="zh-CN" sz="2000" dirty="0"/>
              <a:t> </a:t>
            </a:r>
            <a:r>
              <a:rPr lang="zh-CN" altLang="en-US" sz="2000" dirty="0"/>
              <a:t>包含 </a:t>
            </a:r>
            <a:r>
              <a:rPr lang="en-US" altLang="zh-CN" sz="2000" dirty="0"/>
              <a:t>89 </a:t>
            </a:r>
            <a:r>
              <a:rPr lang="zh-CN" altLang="en-US" sz="2000" dirty="0"/>
              <a:t>个模块化公寓，拥有 </a:t>
            </a:r>
            <a:r>
              <a:rPr lang="en-US" altLang="zh-CN" sz="2000" dirty="0"/>
              <a:t>600 </a:t>
            </a:r>
            <a:r>
              <a:rPr lang="zh-CN" altLang="en-US" sz="2000" dirty="0"/>
              <a:t>多个物体，其独特之处在于这些公寓对应于现实世界中的真实场景。 到目前为止，已有超过 </a:t>
            </a:r>
            <a:r>
              <a:rPr lang="en-US" altLang="zh-CN" sz="2000" dirty="0"/>
              <a:t>100 </a:t>
            </a:r>
            <a:r>
              <a:rPr lang="zh-CN" altLang="en-US" sz="2000" dirty="0"/>
              <a:t>篇基于 </a:t>
            </a:r>
            <a:r>
              <a:rPr lang="en-US" altLang="zh-CN" sz="2000" dirty="0"/>
              <a:t>AI2-THOR </a:t>
            </a:r>
            <a:r>
              <a:rPr lang="zh-CN" altLang="en-US" sz="2000" dirty="0"/>
              <a:t>的作品发表</a:t>
            </a:r>
            <a:endParaRPr lang="en-US" sz="20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9654DB5-84A4-45C5-697A-6058465EDE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2170631"/>
            <a:ext cx="4346831" cy="3272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05885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01D2E6-5AB6-3F19-2BF8-41315864F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538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Real-Scene Based Simulators——Matterport 3D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96456" y="1500885"/>
            <a:ext cx="4457344" cy="4882824"/>
          </a:xfrm>
        </p:spPr>
        <p:txBody>
          <a:bodyPr>
            <a:noAutofit/>
          </a:bodyPr>
          <a:lstStyle/>
          <a:p>
            <a:r>
              <a:rPr lang="zh-CN" altLang="en-US" sz="2000" dirty="0"/>
              <a:t>作为基础的 </a:t>
            </a:r>
            <a:r>
              <a:rPr lang="en-US" altLang="zh-CN" sz="2000" dirty="0"/>
              <a:t>2D-3D </a:t>
            </a:r>
            <a:r>
              <a:rPr lang="zh-CN" altLang="en-US" sz="2000" dirty="0"/>
              <a:t>视觉数据集，在具身 </a:t>
            </a:r>
            <a:r>
              <a:rPr lang="en-US" altLang="zh-CN" sz="2000" dirty="0"/>
              <a:t>AI </a:t>
            </a:r>
            <a:r>
              <a:rPr lang="zh-CN" altLang="en-US" sz="2000" dirty="0"/>
              <a:t>基准测试中被广泛使用和扩展</a:t>
            </a:r>
            <a:endParaRPr lang="en-US" altLang="zh-CN" sz="2000" dirty="0"/>
          </a:p>
          <a:p>
            <a:r>
              <a:rPr lang="en-US" altLang="zh-CN" sz="2000" dirty="0"/>
              <a:t>Matterport 3D </a:t>
            </a:r>
            <a:r>
              <a:rPr lang="zh-CN" altLang="en-US" sz="2000" dirty="0"/>
              <a:t>在 </a:t>
            </a:r>
            <a:r>
              <a:rPr lang="en-US" altLang="zh-CN" sz="2000" dirty="0"/>
              <a:t>R2R </a:t>
            </a:r>
            <a:r>
              <a:rPr lang="zh-CN" altLang="en-US" sz="2000" dirty="0"/>
              <a:t>中提出，更常被用作大型 </a:t>
            </a:r>
            <a:r>
              <a:rPr lang="en-US" altLang="zh-CN" sz="2000" dirty="0"/>
              <a:t>2D-3D </a:t>
            </a:r>
            <a:r>
              <a:rPr lang="zh-CN" altLang="en-US" sz="2000" dirty="0"/>
              <a:t>视觉数据集。 </a:t>
            </a:r>
            <a:r>
              <a:rPr lang="en-US" altLang="zh-CN" sz="2000" dirty="0"/>
              <a:t>Matterport3D </a:t>
            </a:r>
            <a:r>
              <a:rPr lang="zh-CN" altLang="en-US" sz="2000" dirty="0"/>
              <a:t>数据集包含 </a:t>
            </a:r>
            <a:r>
              <a:rPr lang="en-US" altLang="zh-CN" sz="2000" dirty="0"/>
              <a:t>90 </a:t>
            </a:r>
            <a:r>
              <a:rPr lang="zh-CN" altLang="en-US" sz="2000" dirty="0"/>
              <a:t>个室内建筑场景，包括 </a:t>
            </a:r>
            <a:r>
              <a:rPr lang="en-US" altLang="zh-CN" sz="2000" dirty="0"/>
              <a:t>10,800 </a:t>
            </a:r>
            <a:r>
              <a:rPr lang="zh-CN" altLang="en-US" sz="2000" dirty="0"/>
              <a:t>个全景图和 </a:t>
            </a:r>
            <a:r>
              <a:rPr lang="en-US" altLang="zh-CN" sz="2000" dirty="0"/>
              <a:t>194,400 </a:t>
            </a:r>
            <a:r>
              <a:rPr lang="zh-CN" altLang="en-US" sz="2000" dirty="0"/>
              <a:t>个 </a:t>
            </a:r>
            <a:r>
              <a:rPr lang="en-US" altLang="zh-CN" sz="2000" dirty="0"/>
              <a:t>RGB-D </a:t>
            </a:r>
            <a:r>
              <a:rPr lang="zh-CN" altLang="en-US" sz="2000" dirty="0"/>
              <a:t>图像，并提供表面重建、相机姿态以及 </a:t>
            </a:r>
            <a:r>
              <a:rPr lang="en-US" altLang="zh-CN" sz="2000" dirty="0"/>
              <a:t>2D </a:t>
            </a:r>
            <a:r>
              <a:rPr lang="zh-CN" altLang="en-US" sz="2000" dirty="0"/>
              <a:t>和 </a:t>
            </a:r>
            <a:r>
              <a:rPr lang="en-US" altLang="zh-CN" sz="2000" dirty="0"/>
              <a:t>3D </a:t>
            </a:r>
            <a:r>
              <a:rPr lang="zh-CN" altLang="en-US" sz="2000" dirty="0"/>
              <a:t>语义分割标注。 </a:t>
            </a:r>
            <a:r>
              <a:rPr lang="en-US" altLang="zh-CN" sz="2000" dirty="0"/>
              <a:t>Matterport3D </a:t>
            </a:r>
            <a:r>
              <a:rPr lang="zh-CN" altLang="en-US" sz="2000" dirty="0"/>
              <a:t>将 </a:t>
            </a:r>
            <a:r>
              <a:rPr lang="en-US" altLang="zh-CN" sz="2000" dirty="0"/>
              <a:t>3D </a:t>
            </a:r>
            <a:r>
              <a:rPr lang="zh-CN" altLang="en-US" sz="2000" dirty="0"/>
              <a:t>场景转换为离散的“视点”，并且具身代理在 </a:t>
            </a:r>
            <a:r>
              <a:rPr lang="en-US" altLang="zh-CN" sz="2000" dirty="0"/>
              <a:t>Matterport3D </a:t>
            </a:r>
            <a:r>
              <a:rPr lang="zh-CN" altLang="en-US" sz="2000" dirty="0"/>
              <a:t>场景中相邻的“视点”之间移动。 在每个“视点”处，具身代理可以获得以“视点”为中心的 </a:t>
            </a:r>
            <a:r>
              <a:rPr lang="en-US" altLang="zh-CN" sz="2000" dirty="0"/>
              <a:t>1280x1024 </a:t>
            </a:r>
            <a:r>
              <a:rPr lang="zh-CN" altLang="en-US" sz="2000" dirty="0"/>
              <a:t>全景图像（</a:t>
            </a:r>
            <a:r>
              <a:rPr lang="en-US" altLang="zh-CN" sz="2000" dirty="0"/>
              <a:t>18 × RGB-D</a:t>
            </a:r>
            <a:r>
              <a:rPr lang="zh-CN" altLang="en-US" sz="2000" dirty="0"/>
              <a:t>）。 </a:t>
            </a:r>
            <a:r>
              <a:rPr lang="en-US" altLang="zh-CN" sz="2000" dirty="0"/>
              <a:t>Matterport3D </a:t>
            </a:r>
            <a:r>
              <a:rPr lang="zh-CN" altLang="en-US" sz="2000" dirty="0"/>
              <a:t>是最重要的具身导航基准之一</a:t>
            </a:r>
            <a:endParaRPr lang="en-US" sz="20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A27A40FE-1B7E-C24A-C959-F991E61889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862" y="1825625"/>
            <a:ext cx="5913668" cy="4426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44622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154C80A-DCCB-E9BF-ED02-831BFBEFD4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823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Real-Scene Based Simulators——Habitat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92435" y="1726524"/>
            <a:ext cx="5149553" cy="4889936"/>
          </a:xfrm>
        </p:spPr>
        <p:txBody>
          <a:bodyPr>
            <a:noAutofit/>
          </a:bodyPr>
          <a:lstStyle/>
          <a:p>
            <a:r>
              <a:rPr lang="zh-CN" altLang="en-US" sz="2000" dirty="0"/>
              <a:t>尽管 </a:t>
            </a:r>
            <a:r>
              <a:rPr lang="en-US" altLang="zh-CN" sz="2000" dirty="0"/>
              <a:t>Habitat </a:t>
            </a:r>
            <a:r>
              <a:rPr lang="zh-CN" altLang="en-US" sz="2000" dirty="0"/>
              <a:t>中的具身智能体缺乏交互能力，但其广泛的室内场景、用户友好的界面和开放框架使其在具身导航方面备受推崇</a:t>
            </a:r>
            <a:endParaRPr lang="en-US" altLang="zh-CN" sz="2000" dirty="0"/>
          </a:p>
          <a:p>
            <a:r>
              <a:rPr lang="en-US" altLang="zh-CN" sz="2000" dirty="0"/>
              <a:t>Habitat </a:t>
            </a:r>
            <a:r>
              <a:rPr lang="zh-CN" altLang="en-US" sz="2000" dirty="0"/>
              <a:t>是 </a:t>
            </a:r>
            <a:r>
              <a:rPr lang="en-US" altLang="zh-CN" sz="2000" dirty="0"/>
              <a:t>Meta </a:t>
            </a:r>
            <a:r>
              <a:rPr lang="zh-CN" altLang="en-US" sz="2000" dirty="0"/>
              <a:t>推出的一个用于大规模人机交互的开源模拟器。 基于 </a:t>
            </a:r>
            <a:r>
              <a:rPr lang="en-US" altLang="zh-CN" sz="2000" dirty="0"/>
              <a:t>Bullet </a:t>
            </a:r>
            <a:r>
              <a:rPr lang="zh-CN" altLang="en-US" sz="2000" dirty="0"/>
              <a:t>物理引擎，</a:t>
            </a:r>
            <a:r>
              <a:rPr lang="en-US" altLang="zh-CN" sz="2000" dirty="0"/>
              <a:t>Habitat </a:t>
            </a:r>
            <a:r>
              <a:rPr lang="zh-CN" altLang="en-US" sz="2000" dirty="0"/>
              <a:t>实现了高性能、高速、并行的 </a:t>
            </a:r>
            <a:r>
              <a:rPr lang="en-US" altLang="zh-CN" sz="2000" dirty="0"/>
              <a:t>3D </a:t>
            </a:r>
            <a:r>
              <a:rPr lang="zh-CN" altLang="en-US" sz="2000" dirty="0"/>
              <a:t>模拟，并为具身代理的强化学习提供了丰富的接口。 </a:t>
            </a:r>
            <a:r>
              <a:rPr lang="en-US" altLang="zh-CN" sz="2000" dirty="0"/>
              <a:t>Habitat </a:t>
            </a:r>
            <a:r>
              <a:rPr lang="zh-CN" altLang="en-US" sz="2000" dirty="0"/>
              <a:t>具有极高的开放度。 研究人员可以在 </a:t>
            </a:r>
            <a:r>
              <a:rPr lang="en-US" altLang="zh-CN" sz="2000" dirty="0"/>
              <a:t>Habitat </a:t>
            </a:r>
            <a:r>
              <a:rPr lang="zh-CN" altLang="en-US" sz="2000" dirty="0"/>
              <a:t>中导入和创建 </a:t>
            </a:r>
            <a:r>
              <a:rPr lang="en-US" altLang="zh-CN" sz="2000" dirty="0"/>
              <a:t>3D </a:t>
            </a:r>
            <a:r>
              <a:rPr lang="zh-CN" altLang="en-US" sz="2000" dirty="0"/>
              <a:t>场景，或利用 </a:t>
            </a:r>
            <a:r>
              <a:rPr lang="en-US" altLang="zh-CN" sz="2000" dirty="0"/>
              <a:t>Habitat </a:t>
            </a:r>
            <a:r>
              <a:rPr lang="zh-CN" altLang="en-US" sz="2000" dirty="0"/>
              <a:t>平台上丰富的开放资源进行扩展。 </a:t>
            </a:r>
            <a:r>
              <a:rPr lang="en-US" altLang="zh-CN" sz="2000" dirty="0"/>
              <a:t>Habitat </a:t>
            </a:r>
            <a:r>
              <a:rPr lang="zh-CN" altLang="en-US" sz="2000" dirty="0"/>
              <a:t>具有许多可自定义的传感器并支持多智能体模拟。 来自开放资源或自定义的多个具身智能体（例如，人类和机器狗）可以在模拟器中协作，自由移动，并与场景进行简单的交互。 因此，</a:t>
            </a:r>
            <a:r>
              <a:rPr lang="en-US" altLang="zh-CN" sz="2000" dirty="0"/>
              <a:t>Habitat </a:t>
            </a:r>
            <a:r>
              <a:rPr lang="zh-CN" altLang="en-US" sz="2000" dirty="0"/>
              <a:t>越来越受到关注</a:t>
            </a:r>
            <a:endParaRPr lang="en-US" sz="20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755EE914-C42C-E673-0CD0-1A2FEBEDAD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763" y="2133737"/>
            <a:ext cx="6020483" cy="3536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38571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CE4C93-D336-0327-1ABA-CDA169A4C5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1290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Real-Scene Based Simulators——Virtual Home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483" y="1169826"/>
            <a:ext cx="4599317" cy="5455069"/>
          </a:xfrm>
        </p:spPr>
        <p:txBody>
          <a:bodyPr>
            <a:noAutofit/>
          </a:bodyPr>
          <a:lstStyle/>
          <a:p>
            <a:r>
              <a:rPr lang="zh-CN" altLang="en-US" sz="2000" dirty="0"/>
              <a:t>凭借其独特的环境图而引人注目，该图可以基于环境的自然语言描述促进高层次的具身规划</a:t>
            </a:r>
            <a:endParaRPr lang="en-US" altLang="zh-CN" sz="2000" dirty="0"/>
          </a:p>
          <a:p>
            <a:r>
              <a:rPr lang="en-US" altLang="zh-CN" sz="2000" dirty="0" err="1"/>
              <a:t>Virtualhome</a:t>
            </a:r>
            <a:r>
              <a:rPr lang="en-US" altLang="zh-CN" sz="2000" dirty="0"/>
              <a:t> </a:t>
            </a:r>
            <a:r>
              <a:rPr lang="zh-CN" altLang="en-US" sz="2000" dirty="0"/>
              <a:t>是 </a:t>
            </a:r>
            <a:r>
              <a:rPr lang="en-US" altLang="zh-CN" sz="2000" dirty="0"/>
              <a:t>Puig </a:t>
            </a:r>
            <a:r>
              <a:rPr lang="zh-CN" altLang="en-US" sz="2000" dirty="0"/>
              <a:t>等人带来的一个家庭活动具身 </a:t>
            </a:r>
            <a:r>
              <a:rPr lang="en-US" altLang="zh-CN" sz="2000" dirty="0"/>
              <a:t>AI </a:t>
            </a:r>
            <a:r>
              <a:rPr lang="zh-CN" altLang="en-US" sz="2000" dirty="0"/>
              <a:t>模拟器。 </a:t>
            </a:r>
            <a:r>
              <a:rPr lang="en-US" altLang="zh-CN" sz="2000" dirty="0" err="1"/>
              <a:t>Virtualhome</a:t>
            </a:r>
            <a:r>
              <a:rPr lang="en-US" altLang="zh-CN" sz="2000" dirty="0"/>
              <a:t> </a:t>
            </a:r>
            <a:r>
              <a:rPr lang="zh-CN" altLang="en-US" sz="2000" dirty="0"/>
              <a:t>最特别之处在于其环境由环境图表示。 环境图表示场景中的物体及其相关关系。 用户还可以自定义和修改环境图，以实现场景物体的自定义配置。 这种环境图提供了一种新的方式，让具身代理能够理解环境。 与 </a:t>
            </a:r>
            <a:r>
              <a:rPr lang="en-US" altLang="zh-CN" sz="2000" dirty="0"/>
              <a:t>AI2-THOR </a:t>
            </a:r>
            <a:r>
              <a:rPr lang="zh-CN" altLang="en-US" sz="2000" dirty="0"/>
              <a:t>类似，</a:t>
            </a:r>
            <a:r>
              <a:rPr lang="en-US" altLang="zh-CN" sz="2000" dirty="0" err="1"/>
              <a:t>Virtualhome</a:t>
            </a:r>
            <a:r>
              <a:rPr lang="en-US" altLang="zh-CN" sz="2000" dirty="0"/>
              <a:t> </a:t>
            </a:r>
            <a:r>
              <a:rPr lang="zh-CN" altLang="en-US" sz="2000" dirty="0"/>
              <a:t>也提供了大量的交互式物体，具身代理可以与它们交互并改变其状态。 </a:t>
            </a:r>
            <a:r>
              <a:rPr lang="en-US" altLang="zh-CN" sz="2000" dirty="0" err="1"/>
              <a:t>Virtualhome</a:t>
            </a:r>
            <a:r>
              <a:rPr lang="en-US" altLang="zh-CN" sz="2000" dirty="0"/>
              <a:t> </a:t>
            </a:r>
            <a:r>
              <a:rPr lang="zh-CN" altLang="en-US" sz="2000" dirty="0"/>
              <a:t>的另一个特点是其简单易用的 </a:t>
            </a:r>
            <a:r>
              <a:rPr lang="en-US" altLang="zh-CN" sz="2000" dirty="0"/>
              <a:t>API</a:t>
            </a:r>
            <a:r>
              <a:rPr lang="zh-CN" altLang="en-US" sz="2000" dirty="0"/>
              <a:t>。 具身代理的动作简化为“操作 </a:t>
            </a:r>
            <a:r>
              <a:rPr lang="en-US" altLang="zh-CN" sz="2000" dirty="0"/>
              <a:t>+ </a:t>
            </a:r>
            <a:r>
              <a:rPr lang="zh-CN" altLang="en-US" sz="2000" dirty="0"/>
              <a:t>物体”的格式。 这一特点使得 </a:t>
            </a:r>
            <a:r>
              <a:rPr lang="en-US" altLang="zh-CN" sz="2000" dirty="0" err="1"/>
              <a:t>Virtualhome</a:t>
            </a:r>
            <a:r>
              <a:rPr lang="en-US" altLang="zh-CN" sz="2000" dirty="0"/>
              <a:t> </a:t>
            </a:r>
            <a:r>
              <a:rPr lang="zh-CN" altLang="en-US" sz="2000" dirty="0"/>
              <a:t>广泛应用于具身规划、指令分解等研究领域</a:t>
            </a:r>
            <a:endParaRPr lang="en-US" sz="20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45B4999-89BD-C1D6-51F9-A094F5E484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825625"/>
            <a:ext cx="5563150" cy="4143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93371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F434C6A-4F64-4FD9-A442-5EF0E54C11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22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Real-Scene Based Simulators——SAPIEN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3530" y="1825625"/>
            <a:ext cx="4910270" cy="4351338"/>
          </a:xfrm>
        </p:spPr>
        <p:txBody>
          <a:bodyPr>
            <a:normAutofit/>
          </a:bodyPr>
          <a:lstStyle/>
          <a:p>
            <a:r>
              <a:rPr lang="zh-CN" altLang="en-US" sz="2000" dirty="0"/>
              <a:t>专门用于模拟与铰链物体（如门、橱柜和抽屉）的交互</a:t>
            </a:r>
            <a:endParaRPr lang="en-US" altLang="zh-CN" sz="2000" dirty="0"/>
          </a:p>
          <a:p>
            <a:r>
              <a:rPr lang="zh-CN" altLang="en-US" sz="2000" dirty="0"/>
              <a:t>与其他更关注场景的模拟器不同，</a:t>
            </a:r>
            <a:r>
              <a:rPr lang="en-US" altLang="zh-CN" sz="2000" dirty="0"/>
              <a:t>SAPIEN </a:t>
            </a:r>
            <a:r>
              <a:rPr lang="zh-CN" altLang="en-US" sz="2000" dirty="0"/>
              <a:t>更关注模拟物体的交互。 </a:t>
            </a:r>
            <a:r>
              <a:rPr lang="en-US" altLang="zh-CN" sz="2000" dirty="0"/>
              <a:t>SAPIEN </a:t>
            </a:r>
            <a:r>
              <a:rPr lang="zh-CN" altLang="en-US" sz="2000" dirty="0"/>
              <a:t>基于 </a:t>
            </a:r>
            <a:r>
              <a:rPr lang="en-US" altLang="zh-CN" sz="2000" dirty="0"/>
              <a:t>PhysX </a:t>
            </a:r>
            <a:r>
              <a:rPr lang="zh-CN" altLang="en-US" sz="2000" dirty="0"/>
              <a:t>物理引擎，提供细粒度的具身控制，可以通过 </a:t>
            </a:r>
            <a:r>
              <a:rPr lang="en-US" altLang="zh-CN" sz="2000" dirty="0"/>
              <a:t>ROS </a:t>
            </a:r>
            <a:r>
              <a:rPr lang="zh-CN" altLang="en-US" sz="2000" dirty="0"/>
              <a:t>接口实现基于力和扭矩的关节控制。 </a:t>
            </a:r>
            <a:r>
              <a:rPr lang="en-US" altLang="zh-CN" sz="2000" dirty="0"/>
              <a:t>SAPIEN </a:t>
            </a:r>
            <a:r>
              <a:rPr lang="zh-CN" altLang="en-US" sz="2000" dirty="0"/>
              <a:t>基于 </a:t>
            </a:r>
            <a:r>
              <a:rPr lang="en-US" altLang="zh-CN" sz="2000" dirty="0" err="1"/>
              <a:t>PartNet</a:t>
            </a:r>
            <a:r>
              <a:rPr lang="en-US" altLang="zh-CN" sz="2000" dirty="0"/>
              <a:t>-Mobility </a:t>
            </a:r>
            <a:r>
              <a:rPr lang="zh-CN" altLang="en-US" sz="2000" dirty="0"/>
              <a:t>数据集，提供包含丰富交互对象的室内模拟场景，并支持导入自定义资源。 与 </a:t>
            </a:r>
            <a:r>
              <a:rPr lang="en-US" altLang="zh-CN" sz="2000" dirty="0"/>
              <a:t>AI2-THOR </a:t>
            </a:r>
            <a:r>
              <a:rPr lang="zh-CN" altLang="en-US" sz="2000" dirty="0"/>
              <a:t>等直接改变物体状态的模拟器不同，</a:t>
            </a:r>
            <a:r>
              <a:rPr lang="en-US" altLang="zh-CN" sz="2000" dirty="0"/>
              <a:t>SAPIEN </a:t>
            </a:r>
            <a:r>
              <a:rPr lang="zh-CN" altLang="en-US" sz="2000" dirty="0"/>
              <a:t>支持模拟物理交互，具身智能体可以通过物理动作控制物体的铰链部分，从而改变物体状态。 这些特性使 </a:t>
            </a:r>
            <a:r>
              <a:rPr lang="en-US" altLang="zh-CN" sz="2000" dirty="0"/>
              <a:t>SAPIEN </a:t>
            </a:r>
            <a:r>
              <a:rPr lang="zh-CN" altLang="en-US" sz="2000" dirty="0"/>
              <a:t>非常适合训练具身 </a:t>
            </a:r>
            <a:r>
              <a:rPr lang="en-US" altLang="zh-CN" sz="2000" dirty="0"/>
              <a:t>AI </a:t>
            </a:r>
            <a:r>
              <a:rPr lang="zh-CN" altLang="en-US" sz="2000" dirty="0"/>
              <a:t>的细粒度物体操作</a:t>
            </a:r>
            <a:endParaRPr lang="en-US" sz="20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F1E3AAC-C59E-51F4-F09F-A3B54EF378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2014142"/>
            <a:ext cx="5396184" cy="4019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72532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F434C6A-4F64-4FD9-A442-5EF0E54C11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9162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434C6A-4F64-4FD9-A442-5EF0E54C11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Real-Scene Based Simulators——</a:t>
            </a:r>
            <a:r>
              <a:rPr lang="en-US" altLang="zh-CN" sz="4400" b="1" dirty="0" err="1">
                <a:solidFill>
                  <a:schemeClr val="tx1"/>
                </a:solidFill>
              </a:rPr>
              <a:t>iGibson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9148" y="1325696"/>
            <a:ext cx="5354652" cy="5404117"/>
          </a:xfrm>
        </p:spPr>
        <p:txBody>
          <a:bodyPr>
            <a:noAutofit/>
          </a:bodyPr>
          <a:lstStyle/>
          <a:p>
            <a:r>
              <a:rPr lang="zh-CN" altLang="en-US" sz="2000" dirty="0"/>
              <a:t>提供了精细的具身控制和高度模拟的物理交互。提供大量逼真的大型场景方面表现出色，使其适合复杂和长期的移动操作</a:t>
            </a:r>
            <a:endParaRPr lang="en-US" altLang="zh-CN" sz="2000" dirty="0"/>
          </a:p>
          <a:p>
            <a:r>
              <a:rPr lang="en-US" altLang="zh-CN" sz="2000" dirty="0" err="1"/>
              <a:t>iGibson</a:t>
            </a:r>
            <a:r>
              <a:rPr lang="en-US" altLang="zh-CN" sz="2000" dirty="0"/>
              <a:t> </a:t>
            </a:r>
            <a:r>
              <a:rPr lang="zh-CN" altLang="en-US" sz="2000" dirty="0"/>
              <a:t>是斯坦福大学发布的一个开源模拟器。 </a:t>
            </a:r>
            <a:r>
              <a:rPr lang="en-US" altLang="zh-CN" sz="2000" dirty="0" err="1"/>
              <a:t>iGibson</a:t>
            </a:r>
            <a:r>
              <a:rPr lang="en-US" altLang="zh-CN" sz="2000" dirty="0"/>
              <a:t> </a:t>
            </a:r>
            <a:r>
              <a:rPr lang="zh-CN" altLang="en-US" sz="2000" dirty="0"/>
              <a:t>建立在 </a:t>
            </a:r>
            <a:r>
              <a:rPr lang="en-US" altLang="zh-CN" sz="2000" dirty="0"/>
              <a:t>Bullet </a:t>
            </a:r>
            <a:r>
              <a:rPr lang="zh-CN" altLang="en-US" sz="2000" dirty="0"/>
              <a:t>物理引擎之上，提供 </a:t>
            </a:r>
            <a:r>
              <a:rPr lang="en-US" altLang="zh-CN" sz="2000" dirty="0"/>
              <a:t>15 </a:t>
            </a:r>
            <a:r>
              <a:rPr lang="zh-CN" altLang="en-US" sz="2000" dirty="0"/>
              <a:t>个高质量的室内场景，并支持从其他数据集（如 </a:t>
            </a:r>
            <a:r>
              <a:rPr lang="en-US" altLang="zh-CN" sz="2000" dirty="0"/>
              <a:t>Gibson </a:t>
            </a:r>
            <a:r>
              <a:rPr lang="zh-CN" altLang="en-US" sz="2000" dirty="0"/>
              <a:t>和 </a:t>
            </a:r>
            <a:r>
              <a:rPr lang="en-US" altLang="zh-CN" sz="2000" dirty="0"/>
              <a:t>Matterport3D</a:t>
            </a:r>
            <a:r>
              <a:rPr lang="zh-CN" altLang="en-US" sz="2000" dirty="0"/>
              <a:t>）导入资产。 作为一个面向对象的模拟器，</a:t>
            </a:r>
            <a:r>
              <a:rPr lang="en-US" altLang="zh-CN" sz="2000" dirty="0" err="1"/>
              <a:t>iGibson</a:t>
            </a:r>
            <a:r>
              <a:rPr lang="en-US" altLang="zh-CN" sz="2000" dirty="0"/>
              <a:t> </a:t>
            </a:r>
            <a:r>
              <a:rPr lang="zh-CN" altLang="en-US" sz="2000" dirty="0"/>
              <a:t>为物体分配了丰富的可改变属性，不仅限于物体的运动学属性（姿势、速度、加速度等），还包括温度、湿度、清洁度、开关状态等。 此外，除了其他模拟器中常见的深度和语义传感器外，</a:t>
            </a:r>
            <a:r>
              <a:rPr lang="en-US" altLang="zh-CN" sz="2000" dirty="0" err="1"/>
              <a:t>iGibson</a:t>
            </a:r>
            <a:r>
              <a:rPr lang="en-US" altLang="zh-CN" sz="2000" dirty="0"/>
              <a:t> </a:t>
            </a:r>
            <a:r>
              <a:rPr lang="zh-CN" altLang="en-US" sz="2000" dirty="0"/>
              <a:t>还为具身智能体提供了激光雷达，使智能体能够轻松地获取场景中的 </a:t>
            </a:r>
            <a:r>
              <a:rPr lang="en-US" altLang="zh-CN" sz="2000" dirty="0"/>
              <a:t>3D </a:t>
            </a:r>
            <a:r>
              <a:rPr lang="zh-CN" altLang="en-US" sz="2000" dirty="0"/>
              <a:t>点云。 关于具身智能体的配置，</a:t>
            </a:r>
            <a:r>
              <a:rPr lang="en-US" altLang="zh-CN" sz="2000" dirty="0" err="1"/>
              <a:t>iGibson</a:t>
            </a:r>
            <a:r>
              <a:rPr lang="en-US" altLang="zh-CN" sz="2000" dirty="0"/>
              <a:t> </a:t>
            </a:r>
            <a:r>
              <a:rPr lang="zh-CN" altLang="en-US" sz="2000" dirty="0"/>
              <a:t>支持连续动作控制和细粒度关节控制。 这使得 </a:t>
            </a:r>
            <a:r>
              <a:rPr lang="en-US" altLang="zh-CN" sz="2000" dirty="0" err="1"/>
              <a:t>iGibson</a:t>
            </a:r>
            <a:r>
              <a:rPr lang="en-US" altLang="zh-CN" sz="2000" dirty="0"/>
              <a:t> </a:t>
            </a:r>
            <a:r>
              <a:rPr lang="zh-CN" altLang="en-US" sz="2000" dirty="0"/>
              <a:t>中的具身智能体在自由移动的同时能够与物体进行精细的交互</a:t>
            </a:r>
            <a:endParaRPr lang="en-US" sz="20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FBE2487-121E-E392-9E67-6A53040E99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650" y="2153538"/>
            <a:ext cx="5749590" cy="3527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75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F434C6A-4F64-4FD9-A442-5EF0E54C11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07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434C6A-4F64-4FD9-A442-5EF0E54C11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Real-Scene Based Simulators——TDW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31536" y="1027906"/>
            <a:ext cx="4636806" cy="5677582"/>
          </a:xfrm>
        </p:spPr>
        <p:txBody>
          <a:bodyPr>
            <a:noAutofit/>
          </a:bodyPr>
          <a:lstStyle/>
          <a:p>
            <a:r>
              <a:rPr lang="zh-CN" altLang="en-US" sz="2000" dirty="0"/>
              <a:t>提供了精细的具身控制和高度模拟的物理交互。允许用户在场景扩展方面有更大的自由度，并具有独特的音频和灵活的流体模拟功能，使其在相关模拟场景中不可或缺</a:t>
            </a:r>
            <a:endParaRPr lang="en-US" altLang="zh-CN" sz="2000" dirty="0"/>
          </a:p>
          <a:p>
            <a:r>
              <a:rPr lang="en-US" altLang="zh-CN" sz="2000" dirty="0"/>
              <a:t>TDW </a:t>
            </a:r>
            <a:r>
              <a:rPr lang="zh-CN" altLang="en-US" sz="2000" dirty="0"/>
              <a:t>由麻省理工学院推出。 作为最新的具身模拟器之一，</a:t>
            </a:r>
            <a:r>
              <a:rPr lang="en-US" altLang="zh-CN" sz="2000" dirty="0"/>
              <a:t>TDW </a:t>
            </a:r>
            <a:r>
              <a:rPr lang="zh-CN" altLang="en-US" sz="2000" dirty="0"/>
              <a:t>结合了高保真视频和音频渲染、逼真的物理效果和单一的灵活控制器，在模拟环境的感知和交互方面取得了一定的进展。 </a:t>
            </a:r>
            <a:r>
              <a:rPr lang="en-US" altLang="zh-CN" sz="2000" dirty="0"/>
              <a:t>TDW </a:t>
            </a:r>
            <a:r>
              <a:rPr lang="zh-CN" altLang="en-US" sz="2000" dirty="0"/>
              <a:t>将多个物理引擎整合到一个框架中，可以实现刚体、软体、织物和流体等各种材料的物理交互模拟，并在与物体交互时提供情境声音。 因此，与其他模拟器相比，</a:t>
            </a:r>
            <a:r>
              <a:rPr lang="en-US" altLang="zh-CN" sz="2000" dirty="0"/>
              <a:t>TDW </a:t>
            </a:r>
            <a:r>
              <a:rPr lang="zh-CN" altLang="en-US" sz="2000" dirty="0"/>
              <a:t>迈出了重要的一步。 </a:t>
            </a:r>
            <a:r>
              <a:rPr lang="en-US" altLang="zh-CN" sz="2000" dirty="0"/>
              <a:t>TDW </a:t>
            </a:r>
            <a:r>
              <a:rPr lang="zh-CN" altLang="en-US" sz="2000" dirty="0"/>
              <a:t>支持部署多个智能体，并为用户提供丰富的 </a:t>
            </a:r>
            <a:r>
              <a:rPr lang="en-US" altLang="zh-CN" sz="2000" dirty="0"/>
              <a:t>API </a:t>
            </a:r>
            <a:r>
              <a:rPr lang="zh-CN" altLang="en-US" sz="2000" dirty="0"/>
              <a:t>库和资产库，允许用户根据自己的需求自由定制场景和任务，甚至包括室外场景和相关任务</a:t>
            </a:r>
            <a:endParaRPr lang="en-US" sz="20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133C6C4-1FEC-5F88-DDDE-2816FF2C6C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6024" y="1939895"/>
            <a:ext cx="6234465" cy="3963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5615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矩形 140">
            <a:hlinkClick r:id="rId29" action="ppaction://hlinksldjump"/>
            <a:extLst>
              <a:ext uri="{FF2B5EF4-FFF2-40B4-BE49-F238E27FC236}">
                <a16:creationId xmlns:a16="http://schemas.microsoft.com/office/drawing/2014/main" id="{7C5B66CD-1957-9064-87CD-1681534828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5</a:t>
            </a:r>
          </a:p>
        </p:txBody>
      </p:sp>
      <p:sp>
        <p:nvSpPr>
          <p:cNvPr id="140" name="矩形 139">
            <a:hlinkClick r:id="rId29" action="ppaction://hlinksldjump"/>
            <a:extLst>
              <a:ext uri="{FF2B5EF4-FFF2-40B4-BE49-F238E27FC236}">
                <a16:creationId xmlns:a16="http://schemas.microsoft.com/office/drawing/2014/main" id="{54E5960A-2012-5FD1-975D-42CE4231B4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&amp; Future Directions</a:t>
            </a:r>
          </a:p>
        </p:txBody>
      </p:sp>
      <p:sp>
        <p:nvSpPr>
          <p:cNvPr id="139" name="矩形 138">
            <a:hlinkClick r:id="rId29" action="ppaction://hlinksldjump"/>
            <a:extLst>
              <a:ext uri="{FF2B5EF4-FFF2-40B4-BE49-F238E27FC236}">
                <a16:creationId xmlns:a16="http://schemas.microsoft.com/office/drawing/2014/main" id="{B051B1ED-3DE7-E555-B22C-B48D28446E8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38" name="矩形 137">
            <a:hlinkClick r:id="rId30" action="ppaction://hlinksldjump"/>
            <a:extLst>
              <a:ext uri="{FF2B5EF4-FFF2-40B4-BE49-F238E27FC236}">
                <a16:creationId xmlns:a16="http://schemas.microsoft.com/office/drawing/2014/main" id="{13D308D7-95B4-7977-EE8A-EF4DE90778D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9</a:t>
            </a:r>
          </a:p>
        </p:txBody>
      </p:sp>
      <p:sp>
        <p:nvSpPr>
          <p:cNvPr id="137" name="矩形 136">
            <a:hlinkClick r:id="rId30" action="ppaction://hlinksldjump"/>
            <a:extLst>
              <a:ext uri="{FF2B5EF4-FFF2-40B4-BE49-F238E27FC236}">
                <a16:creationId xmlns:a16="http://schemas.microsoft.com/office/drawing/2014/main" id="{BEC8C0FF-8B20-613E-6AAD-DAE2D428D6D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96395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136" name="矩形 135">
            <a:hlinkClick r:id="rId30" action="ppaction://hlinksldjump"/>
            <a:extLst>
              <a:ext uri="{FF2B5EF4-FFF2-40B4-BE49-F238E27FC236}">
                <a16:creationId xmlns:a16="http://schemas.microsoft.com/office/drawing/2014/main" id="{CCA0FAF3-530B-3A02-1B33-B87C344240D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35" name="矩形 134">
            <a:hlinkClick r:id="rId31" action="ppaction://hlinksldjump"/>
            <a:extLst>
              <a:ext uri="{FF2B5EF4-FFF2-40B4-BE49-F238E27FC236}">
                <a16:creationId xmlns:a16="http://schemas.microsoft.com/office/drawing/2014/main" id="{AB6CE877-178C-4869-155E-EFB2F99447E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5</a:t>
            </a:r>
          </a:p>
        </p:txBody>
      </p:sp>
      <p:sp>
        <p:nvSpPr>
          <p:cNvPr id="134" name="矩形 133">
            <a:hlinkClick r:id="rId31" action="ppaction://hlinksldjump"/>
            <a:extLst>
              <a:ext uri="{FF2B5EF4-FFF2-40B4-BE49-F238E27FC236}">
                <a16:creationId xmlns:a16="http://schemas.microsoft.com/office/drawing/2014/main" id="{CF2277DA-4345-9030-BED7-DA4ED2BBE39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133" name="矩形 132">
            <a:hlinkClick r:id="rId31" action="ppaction://hlinksldjump"/>
            <a:extLst>
              <a:ext uri="{FF2B5EF4-FFF2-40B4-BE49-F238E27FC236}">
                <a16:creationId xmlns:a16="http://schemas.microsoft.com/office/drawing/2014/main" id="{FFA3754F-F1D5-8EA8-647F-F4D0AF94EC3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2" name="矩形 131">
            <a:hlinkClick r:id="rId32" action="ppaction://hlinksldjump"/>
            <a:extLst>
              <a:ext uri="{FF2B5EF4-FFF2-40B4-BE49-F238E27FC236}">
                <a16:creationId xmlns:a16="http://schemas.microsoft.com/office/drawing/2014/main" id="{5C4BB748-FB01-E979-25A8-7BC64F94623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5</a:t>
            </a:r>
          </a:p>
        </p:txBody>
      </p:sp>
      <p:sp>
        <p:nvSpPr>
          <p:cNvPr id="131" name="矩形 130">
            <a:hlinkClick r:id="rId32" action="ppaction://hlinksldjump"/>
            <a:extLst>
              <a:ext uri="{FF2B5EF4-FFF2-40B4-BE49-F238E27FC236}">
                <a16:creationId xmlns:a16="http://schemas.microsoft.com/office/drawing/2014/main" id="{20C8374A-FBB4-39F1-8372-051B8905D99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130" name="矩形 129">
            <a:hlinkClick r:id="rId32" action="ppaction://hlinksldjump"/>
            <a:extLst>
              <a:ext uri="{FF2B5EF4-FFF2-40B4-BE49-F238E27FC236}">
                <a16:creationId xmlns:a16="http://schemas.microsoft.com/office/drawing/2014/main" id="{16EBB707-1C22-D46B-4C23-B74F995E1CE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9" name="矩形 128">
            <a:hlinkClick r:id="rId33" action="ppaction://hlinksldjump"/>
            <a:extLst>
              <a:ext uri="{FF2B5EF4-FFF2-40B4-BE49-F238E27FC236}">
                <a16:creationId xmlns:a16="http://schemas.microsoft.com/office/drawing/2014/main" id="{CC3EE0D3-5C4D-8F53-D3D1-BC35EFC867F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5</a:t>
            </a:r>
          </a:p>
        </p:txBody>
      </p:sp>
      <p:sp>
        <p:nvSpPr>
          <p:cNvPr id="128" name="矩形 127">
            <a:hlinkClick r:id="rId33" action="ppaction://hlinksldjump"/>
            <a:extLst>
              <a:ext uri="{FF2B5EF4-FFF2-40B4-BE49-F238E27FC236}">
                <a16:creationId xmlns:a16="http://schemas.microsoft.com/office/drawing/2014/main" id="{34E04FFA-AE73-CE6D-F9FF-2F0A3FF9BD9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127" name="矩形 126">
            <a:hlinkClick r:id="rId33" action="ppaction://hlinksldjump"/>
            <a:extLst>
              <a:ext uri="{FF2B5EF4-FFF2-40B4-BE49-F238E27FC236}">
                <a16:creationId xmlns:a16="http://schemas.microsoft.com/office/drawing/2014/main" id="{6755BB13-7B3E-AACC-ECA6-F8678C04C04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6" name="矩形 125">
            <a:hlinkClick r:id="rId34" action="ppaction://hlinksldjump"/>
            <a:extLst>
              <a:ext uri="{FF2B5EF4-FFF2-40B4-BE49-F238E27FC236}">
                <a16:creationId xmlns:a16="http://schemas.microsoft.com/office/drawing/2014/main" id="{29E123B1-6575-118B-AD09-0B60353AF0F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125" name="矩形 124">
            <a:hlinkClick r:id="rId34" action="ppaction://hlinksldjump"/>
            <a:extLst>
              <a:ext uri="{FF2B5EF4-FFF2-40B4-BE49-F238E27FC236}">
                <a16:creationId xmlns:a16="http://schemas.microsoft.com/office/drawing/2014/main" id="{3EDA8CFE-1360-9BC0-912E-E553E66E5D6E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264489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124" name="矩形 123">
            <a:hlinkClick r:id="rId34" action="ppaction://hlinksldjump"/>
            <a:extLst>
              <a:ext uri="{FF2B5EF4-FFF2-40B4-BE49-F238E27FC236}">
                <a16:creationId xmlns:a16="http://schemas.microsoft.com/office/drawing/2014/main" id="{2A663E4D-BC48-78B4-89D3-D027BC01399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3" name="矩形 122">
            <a:hlinkClick r:id="rId35" action="ppaction://hlinksldjump"/>
            <a:extLst>
              <a:ext uri="{FF2B5EF4-FFF2-40B4-BE49-F238E27FC236}">
                <a16:creationId xmlns:a16="http://schemas.microsoft.com/office/drawing/2014/main" id="{269A3BF8-E96E-1280-59C6-63A788C9380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122" name="矩形 121">
            <a:hlinkClick r:id="rId35" action="ppaction://hlinksldjump"/>
            <a:extLst>
              <a:ext uri="{FF2B5EF4-FFF2-40B4-BE49-F238E27FC236}">
                <a16:creationId xmlns:a16="http://schemas.microsoft.com/office/drawing/2014/main" id="{95AD2140-96B4-0D9C-CC76-DB810538AAF5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977959" y="218128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121" name="矩形 120">
            <a:hlinkClick r:id="rId35" action="ppaction://hlinksldjump"/>
            <a:extLst>
              <a:ext uri="{FF2B5EF4-FFF2-40B4-BE49-F238E27FC236}">
                <a16:creationId xmlns:a16="http://schemas.microsoft.com/office/drawing/2014/main" id="{BFEB77D9-023A-51A6-DE5C-69BC0E7FFBB6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0" name="矩形 119">
            <a:extLst>
              <a:ext uri="{FF2B5EF4-FFF2-40B4-BE49-F238E27FC236}">
                <a16:creationId xmlns:a16="http://schemas.microsoft.com/office/drawing/2014/main" id="{F6D12030-05D1-2E18-2563-6DFA1D96CD47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19" name="矩形 118">
            <a:hlinkClick r:id="rId36" action="ppaction://hlinksldjump"/>
            <a:extLst>
              <a:ext uri="{FF2B5EF4-FFF2-40B4-BE49-F238E27FC236}">
                <a16:creationId xmlns:a16="http://schemas.microsoft.com/office/drawing/2014/main" id="{40347C0A-E87F-4B7A-C98A-EB795FD4DB9F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8" name="矩形 117">
            <a:hlinkClick r:id="rId36" action="ppaction://hlinksldjump"/>
            <a:extLst>
              <a:ext uri="{FF2B5EF4-FFF2-40B4-BE49-F238E27FC236}">
                <a16:creationId xmlns:a16="http://schemas.microsoft.com/office/drawing/2014/main" id="{69D9E49B-E8B3-7AC0-E2D5-D430C2C68487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117" name="矩形 116">
            <a:hlinkClick r:id="rId36" action="ppaction://hlinksldjump"/>
            <a:extLst>
              <a:ext uri="{FF2B5EF4-FFF2-40B4-BE49-F238E27FC236}">
                <a16:creationId xmlns:a16="http://schemas.microsoft.com/office/drawing/2014/main" id="{48420668-6B80-EF19-C1F3-DD78B7B4C3BE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6" name="标题 115">
            <a:extLst>
              <a:ext uri="{FF2B5EF4-FFF2-40B4-BE49-F238E27FC236}">
                <a16:creationId xmlns:a16="http://schemas.microsoft.com/office/drawing/2014/main" id="{4EE63145-EFE1-709C-185D-BF10BE46EB35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Tools &amp; Task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513190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>
            <a:extLst>
              <a:ext uri="{FF2B5EF4-FFF2-40B4-BE49-F238E27FC236}">
                <a16:creationId xmlns:a16="http://schemas.microsoft.com/office/drawing/2014/main" id="{B98D8B22-5773-4BAC-5F81-88D35FD8A1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矩形 15">
            <a:hlinkClick r:id="rId17" action="ppaction://hlinksldjump"/>
            <a:extLst>
              <a:ext uri="{FF2B5EF4-FFF2-40B4-BE49-F238E27FC236}">
                <a16:creationId xmlns:a16="http://schemas.microsoft.com/office/drawing/2014/main" id="{CA0E4DFD-BB54-2DBA-BDE1-D4753680F5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0</a:t>
            </a:r>
          </a:p>
        </p:txBody>
      </p:sp>
      <p:sp>
        <p:nvSpPr>
          <p:cNvPr id="15" name="矩形 14">
            <a:hlinkClick r:id="rId17" action="ppaction://hlinksldjump"/>
            <a:extLst>
              <a:ext uri="{FF2B5EF4-FFF2-40B4-BE49-F238E27FC236}">
                <a16:creationId xmlns:a16="http://schemas.microsoft.com/office/drawing/2014/main" id="{0D204FFA-42A4-3DFB-08DD-807A91578F0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310850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Automated Simulation Scene Construction</a:t>
            </a:r>
          </a:p>
        </p:txBody>
      </p:sp>
      <p:sp>
        <p:nvSpPr>
          <p:cNvPr id="14" name="矩形 13">
            <a:hlinkClick r:id="rId17" action="ppaction://hlinksldjump"/>
            <a:extLst>
              <a:ext uri="{FF2B5EF4-FFF2-40B4-BE49-F238E27FC236}">
                <a16:creationId xmlns:a16="http://schemas.microsoft.com/office/drawing/2014/main" id="{29F28BB0-A948-C253-1301-CBBD5FE8597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矩形 12">
            <a:hlinkClick r:id="rId18" action="ppaction://hlinksldjump"/>
            <a:extLst>
              <a:ext uri="{FF2B5EF4-FFF2-40B4-BE49-F238E27FC236}">
                <a16:creationId xmlns:a16="http://schemas.microsoft.com/office/drawing/2014/main" id="{CD16409B-6827-8A74-6413-759AADF1898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41</a:t>
            </a:r>
          </a:p>
        </p:txBody>
      </p:sp>
      <p:sp>
        <p:nvSpPr>
          <p:cNvPr id="12" name="矩形 11">
            <a:hlinkClick r:id="rId18" action="ppaction://hlinksldjump"/>
            <a:extLst>
              <a:ext uri="{FF2B5EF4-FFF2-40B4-BE49-F238E27FC236}">
                <a16:creationId xmlns:a16="http://schemas.microsoft.com/office/drawing/2014/main" id="{398A3165-6CBC-78B7-C349-5CE159BE032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264489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al-Scene Based Simulators</a:t>
            </a:r>
          </a:p>
        </p:txBody>
      </p:sp>
      <p:sp>
        <p:nvSpPr>
          <p:cNvPr id="11" name="矩形 10">
            <a:hlinkClick r:id="rId18" action="ppaction://hlinksldjump"/>
            <a:extLst>
              <a:ext uri="{FF2B5EF4-FFF2-40B4-BE49-F238E27FC236}">
                <a16:creationId xmlns:a16="http://schemas.microsoft.com/office/drawing/2014/main" id="{B3E7CFD3-7DD0-DC4F-1B6A-B4753B48BB9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矩形 9">
            <a:hlinkClick r:id="rId19" action="ppaction://hlinksldjump"/>
            <a:extLst>
              <a:ext uri="{FF2B5EF4-FFF2-40B4-BE49-F238E27FC236}">
                <a16:creationId xmlns:a16="http://schemas.microsoft.com/office/drawing/2014/main" id="{80221662-3AB8-FD34-558F-70747DDB033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9</a:t>
            </a:r>
          </a:p>
        </p:txBody>
      </p:sp>
      <p:sp>
        <p:nvSpPr>
          <p:cNvPr id="9" name="矩形 8">
            <a:hlinkClick r:id="rId19" action="ppaction://hlinksldjump"/>
            <a:extLst>
              <a:ext uri="{FF2B5EF4-FFF2-40B4-BE49-F238E27FC236}">
                <a16:creationId xmlns:a16="http://schemas.microsoft.com/office/drawing/2014/main" id="{C0F6E557-105C-51A4-6102-07EC9FE22F8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18128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General Simulator</a:t>
            </a:r>
          </a:p>
        </p:txBody>
      </p:sp>
      <p:sp>
        <p:nvSpPr>
          <p:cNvPr id="8" name="矩形 7">
            <a:hlinkClick r:id="rId19" action="ppaction://hlinksldjump"/>
            <a:extLst>
              <a:ext uri="{FF2B5EF4-FFF2-40B4-BE49-F238E27FC236}">
                <a16:creationId xmlns:a16="http://schemas.microsoft.com/office/drawing/2014/main" id="{C956AB18-1BB4-7DA6-4DFC-AC62E84CE5E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矩形 6">
            <a:hlinkClick r:id="rId20" action="ppaction://hlinksldjump"/>
            <a:extLst>
              <a:ext uri="{FF2B5EF4-FFF2-40B4-BE49-F238E27FC236}">
                <a16:creationId xmlns:a16="http://schemas.microsoft.com/office/drawing/2014/main" id="{ED2D65E0-C2B4-DF00-AEAC-881BDF647FA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6" name="矩形 5">
            <a:hlinkClick r:id="rId20" action="ppaction://hlinksldjump"/>
            <a:extLst>
              <a:ext uri="{FF2B5EF4-FFF2-40B4-BE49-F238E27FC236}">
                <a16:creationId xmlns:a16="http://schemas.microsoft.com/office/drawing/2014/main" id="{0F90B4FF-4894-A4EF-1A88-73DF5DF3A04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402834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5" name="矩形 4">
            <a:hlinkClick r:id="rId20" action="ppaction://hlinksldjump"/>
            <a:extLst>
              <a:ext uri="{FF2B5EF4-FFF2-40B4-BE49-F238E27FC236}">
                <a16:creationId xmlns:a16="http://schemas.microsoft.com/office/drawing/2014/main" id="{BBA25958-E4D8-838E-784C-B3A1E313FE6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8EA21B95-F607-36E7-A877-1E5CF41021FF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Types of Simulato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358686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6A8CD46-42AF-CC20-B13B-C2B4DB55E0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A8CD46-42AF-CC20-B13B-C2B4DB55E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Automated Simulation Scene Construction——</a:t>
            </a:r>
            <a:r>
              <a:rPr lang="en-US" altLang="zh-CN" sz="4400" b="1" dirty="0" err="1">
                <a:solidFill>
                  <a:schemeClr val="tx1"/>
                </a:solidFill>
              </a:rPr>
              <a:t>RoboGen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/>
              <a:t>RoboGen</a:t>
            </a:r>
            <a:r>
              <a:rPr lang="en-US" altLang="zh-CN" dirty="0"/>
              <a:t> </a:t>
            </a:r>
            <a:r>
              <a:rPr lang="zh-CN" altLang="en-US" dirty="0"/>
              <a:t>通过 </a:t>
            </a:r>
            <a:r>
              <a:rPr lang="en-US" altLang="zh-CN" dirty="0"/>
              <a:t>LLM </a:t>
            </a:r>
            <a:r>
              <a:rPr lang="zh-CN" altLang="en-US" dirty="0"/>
              <a:t>从随机采样的 </a:t>
            </a:r>
            <a:r>
              <a:rPr lang="en-US" altLang="zh-CN" dirty="0"/>
              <a:t>3D </a:t>
            </a:r>
            <a:r>
              <a:rPr lang="zh-CN" altLang="en-US" dirty="0"/>
              <a:t>资产中定制任务，从而创建场景并自动训练代理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21725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6A8CD46-42AF-CC20-B13B-C2B4DB55E0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104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Automated Simulation Scene Construction——HOLODECK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HOLODECK </a:t>
            </a:r>
            <a:r>
              <a:rPr lang="zh-CN" altLang="en-US" dirty="0"/>
              <a:t>可以根据人类指令在 </a:t>
            </a:r>
            <a:r>
              <a:rPr lang="en-US" altLang="zh-CN" dirty="0"/>
              <a:t>AI2-THOR </a:t>
            </a:r>
            <a:r>
              <a:rPr lang="zh-CN" altLang="en-US" dirty="0"/>
              <a:t>中自动定制相应的高质量模拟场景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7367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6A8CD46-42AF-CC20-B13B-C2B4DB55E0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106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A8CD46-42AF-CC20-B13B-C2B4DB55E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Automated Simulation Scene Construction——</a:t>
            </a:r>
            <a:r>
              <a:rPr lang="en-US" altLang="zh-CN" sz="4400" b="1" dirty="0" err="1">
                <a:solidFill>
                  <a:schemeClr val="tx1"/>
                </a:solidFill>
              </a:rPr>
              <a:t>PhyScene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/>
              <a:t>PhyScene</a:t>
            </a:r>
            <a:r>
              <a:rPr lang="en-US" altLang="zh-CN" dirty="0"/>
              <a:t> </a:t>
            </a:r>
            <a:r>
              <a:rPr lang="zh-CN" altLang="en-US" dirty="0"/>
              <a:t>基于条件扩散生成交互式且物理一致的高质量 </a:t>
            </a:r>
            <a:r>
              <a:rPr lang="en-US" altLang="zh-CN" dirty="0"/>
              <a:t>3D </a:t>
            </a:r>
            <a:r>
              <a:rPr lang="zh-CN" altLang="en-US" dirty="0"/>
              <a:t>场景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561155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6A8CD46-42AF-CC20-B13B-C2B4DB55E0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63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A8CD46-42AF-CC20-B13B-C2B4DB55E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Automated Simulation Scene Construction——</a:t>
            </a:r>
            <a:r>
              <a:rPr lang="en-US" altLang="zh-CN" sz="4400" b="1" dirty="0" err="1">
                <a:solidFill>
                  <a:schemeClr val="tx1"/>
                </a:solidFill>
              </a:rPr>
              <a:t>ProcTHOR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人工智能艾伦研究所扩展了 </a:t>
            </a:r>
            <a:r>
              <a:rPr lang="en-US" altLang="zh-CN" dirty="0"/>
              <a:t>AI2-THOR </a:t>
            </a:r>
            <a:r>
              <a:rPr lang="zh-CN" altLang="en-US" dirty="0"/>
              <a:t>并提出了 </a:t>
            </a:r>
            <a:r>
              <a:rPr lang="en-US" altLang="zh-CN" dirty="0" err="1"/>
              <a:t>ProcTHOR</a:t>
            </a:r>
            <a:r>
              <a:rPr lang="en-US" altLang="zh-CN" dirty="0"/>
              <a:t> </a:t>
            </a:r>
            <a:r>
              <a:rPr lang="zh-CN" altLang="en-US" dirty="0"/>
              <a:t>，它可以自动生成具有足够交互性、多样性和合理性的模拟场景。 这些方法为具身 </a:t>
            </a:r>
            <a:r>
              <a:rPr lang="en-US" altLang="zh-CN" dirty="0"/>
              <a:t>AI </a:t>
            </a:r>
            <a:r>
              <a:rPr lang="zh-CN" altLang="en-US" dirty="0"/>
              <a:t>提供了见解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10375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矩形 140">
            <a:hlinkClick r:id="rId29" action="ppaction://hlinksldjump"/>
            <a:extLst>
              <a:ext uri="{FF2B5EF4-FFF2-40B4-BE49-F238E27FC236}">
                <a16:creationId xmlns:a16="http://schemas.microsoft.com/office/drawing/2014/main" id="{3BC8642D-AC55-C224-CF9A-6736281B425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5</a:t>
            </a:r>
          </a:p>
        </p:txBody>
      </p:sp>
      <p:sp>
        <p:nvSpPr>
          <p:cNvPr id="140" name="矩形 139">
            <a:hlinkClick r:id="rId29" action="ppaction://hlinksldjump"/>
            <a:extLst>
              <a:ext uri="{FF2B5EF4-FFF2-40B4-BE49-F238E27FC236}">
                <a16:creationId xmlns:a16="http://schemas.microsoft.com/office/drawing/2014/main" id="{CF22CF48-07DF-84B9-D633-F637561913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&amp; Future Directions</a:t>
            </a:r>
          </a:p>
        </p:txBody>
      </p:sp>
      <p:sp>
        <p:nvSpPr>
          <p:cNvPr id="139" name="矩形 138">
            <a:hlinkClick r:id="rId29" action="ppaction://hlinksldjump"/>
            <a:extLst>
              <a:ext uri="{FF2B5EF4-FFF2-40B4-BE49-F238E27FC236}">
                <a16:creationId xmlns:a16="http://schemas.microsoft.com/office/drawing/2014/main" id="{2A1966F3-C67C-C9C1-A39D-13F6A3F5514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38" name="矩形 137">
            <a:hlinkClick r:id="rId30" action="ppaction://hlinksldjump"/>
            <a:extLst>
              <a:ext uri="{FF2B5EF4-FFF2-40B4-BE49-F238E27FC236}">
                <a16:creationId xmlns:a16="http://schemas.microsoft.com/office/drawing/2014/main" id="{13102109-CB97-B2BD-F331-C3D6922BE2D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9</a:t>
            </a:r>
          </a:p>
        </p:txBody>
      </p:sp>
      <p:sp>
        <p:nvSpPr>
          <p:cNvPr id="137" name="矩形 136">
            <a:hlinkClick r:id="rId30" action="ppaction://hlinksldjump"/>
            <a:extLst>
              <a:ext uri="{FF2B5EF4-FFF2-40B4-BE49-F238E27FC236}">
                <a16:creationId xmlns:a16="http://schemas.microsoft.com/office/drawing/2014/main" id="{816D7E74-C36B-E65D-A9FE-C681704E20D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96395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136" name="矩形 135">
            <a:hlinkClick r:id="rId30" action="ppaction://hlinksldjump"/>
            <a:extLst>
              <a:ext uri="{FF2B5EF4-FFF2-40B4-BE49-F238E27FC236}">
                <a16:creationId xmlns:a16="http://schemas.microsoft.com/office/drawing/2014/main" id="{B3D85EC6-5730-1AA8-60F7-A41E71A1667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35" name="矩形 134">
            <a:hlinkClick r:id="rId31" action="ppaction://hlinksldjump"/>
            <a:extLst>
              <a:ext uri="{FF2B5EF4-FFF2-40B4-BE49-F238E27FC236}">
                <a16:creationId xmlns:a16="http://schemas.microsoft.com/office/drawing/2014/main" id="{E6155668-EB4D-4BCE-8FB3-399DF51FA39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5</a:t>
            </a:r>
          </a:p>
        </p:txBody>
      </p:sp>
      <p:sp>
        <p:nvSpPr>
          <p:cNvPr id="134" name="矩形 133">
            <a:hlinkClick r:id="rId31" action="ppaction://hlinksldjump"/>
            <a:extLst>
              <a:ext uri="{FF2B5EF4-FFF2-40B4-BE49-F238E27FC236}">
                <a16:creationId xmlns:a16="http://schemas.microsoft.com/office/drawing/2014/main" id="{5A67324F-324B-76A8-C3B2-761A23C12B5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133" name="矩形 132">
            <a:hlinkClick r:id="rId31" action="ppaction://hlinksldjump"/>
            <a:extLst>
              <a:ext uri="{FF2B5EF4-FFF2-40B4-BE49-F238E27FC236}">
                <a16:creationId xmlns:a16="http://schemas.microsoft.com/office/drawing/2014/main" id="{C0D641CA-34D2-36B5-A760-4BEF10B4170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2" name="矩形 131">
            <a:hlinkClick r:id="rId32" action="ppaction://hlinksldjump"/>
            <a:extLst>
              <a:ext uri="{FF2B5EF4-FFF2-40B4-BE49-F238E27FC236}">
                <a16:creationId xmlns:a16="http://schemas.microsoft.com/office/drawing/2014/main" id="{280022B1-C0A7-1020-52A9-CC4D9D22ACC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5</a:t>
            </a:r>
          </a:p>
        </p:txBody>
      </p:sp>
      <p:sp>
        <p:nvSpPr>
          <p:cNvPr id="131" name="矩形 130">
            <a:hlinkClick r:id="rId32" action="ppaction://hlinksldjump"/>
            <a:extLst>
              <a:ext uri="{FF2B5EF4-FFF2-40B4-BE49-F238E27FC236}">
                <a16:creationId xmlns:a16="http://schemas.microsoft.com/office/drawing/2014/main" id="{46167D3B-F05D-0963-04B9-F2ED9BCD61D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130" name="矩形 129">
            <a:hlinkClick r:id="rId32" action="ppaction://hlinksldjump"/>
            <a:extLst>
              <a:ext uri="{FF2B5EF4-FFF2-40B4-BE49-F238E27FC236}">
                <a16:creationId xmlns:a16="http://schemas.microsoft.com/office/drawing/2014/main" id="{CA281C59-0412-62CC-2CD5-6F424A271BF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9" name="矩形 128">
            <a:extLst>
              <a:ext uri="{FF2B5EF4-FFF2-40B4-BE49-F238E27FC236}">
                <a16:creationId xmlns:a16="http://schemas.microsoft.com/office/drawing/2014/main" id="{CE56392F-3E02-ECBF-F27D-B78B24A3307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8" name="矩形 127">
            <a:hlinkClick r:id="rId33" action="ppaction://hlinksldjump"/>
            <a:extLst>
              <a:ext uri="{FF2B5EF4-FFF2-40B4-BE49-F238E27FC236}">
                <a16:creationId xmlns:a16="http://schemas.microsoft.com/office/drawing/2014/main" id="{ED99E710-A7B4-E7F2-7990-1F15493BB19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5</a:t>
            </a:r>
          </a:p>
        </p:txBody>
      </p:sp>
      <p:sp>
        <p:nvSpPr>
          <p:cNvPr id="127" name="矩形 126">
            <a:hlinkClick r:id="rId33" action="ppaction://hlinksldjump"/>
            <a:extLst>
              <a:ext uri="{FF2B5EF4-FFF2-40B4-BE49-F238E27FC236}">
                <a16:creationId xmlns:a16="http://schemas.microsoft.com/office/drawing/2014/main" id="{5C42AD09-756A-F5AB-3421-D2E3E005127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126" name="矩形 125">
            <a:hlinkClick r:id="rId33" action="ppaction://hlinksldjump"/>
            <a:extLst>
              <a:ext uri="{FF2B5EF4-FFF2-40B4-BE49-F238E27FC236}">
                <a16:creationId xmlns:a16="http://schemas.microsoft.com/office/drawing/2014/main" id="{10CFAF3B-0FDB-DFE4-1094-0AB86D30D76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5" name="矩形 124">
            <a:hlinkClick r:id="rId34" action="ppaction://hlinksldjump"/>
            <a:extLst>
              <a:ext uri="{FF2B5EF4-FFF2-40B4-BE49-F238E27FC236}">
                <a16:creationId xmlns:a16="http://schemas.microsoft.com/office/drawing/2014/main" id="{96EE428A-EA4A-7150-9D29-6D913D5A20F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124" name="矩形 123">
            <a:hlinkClick r:id="rId34" action="ppaction://hlinksldjump"/>
            <a:extLst>
              <a:ext uri="{FF2B5EF4-FFF2-40B4-BE49-F238E27FC236}">
                <a16:creationId xmlns:a16="http://schemas.microsoft.com/office/drawing/2014/main" id="{78496DDD-4D8A-A1B7-EC98-44282601BF3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123" name="矩形 122">
            <a:hlinkClick r:id="rId34" action="ppaction://hlinksldjump"/>
            <a:extLst>
              <a:ext uri="{FF2B5EF4-FFF2-40B4-BE49-F238E27FC236}">
                <a16:creationId xmlns:a16="http://schemas.microsoft.com/office/drawing/2014/main" id="{D9404749-F975-80C7-ECE1-0B190338963F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2" name="矩形 121">
            <a:hlinkClick r:id="rId35" action="ppaction://hlinksldjump"/>
            <a:extLst>
              <a:ext uri="{FF2B5EF4-FFF2-40B4-BE49-F238E27FC236}">
                <a16:creationId xmlns:a16="http://schemas.microsoft.com/office/drawing/2014/main" id="{2BD56564-23A4-4687-4456-916673E3F13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121" name="矩形 120">
            <a:hlinkClick r:id="rId35" action="ppaction://hlinksldjump"/>
            <a:extLst>
              <a:ext uri="{FF2B5EF4-FFF2-40B4-BE49-F238E27FC236}">
                <a16:creationId xmlns:a16="http://schemas.microsoft.com/office/drawing/2014/main" id="{2CC9A40F-A24F-DF1D-9988-6AB4A6F9345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120" name="矩形 119">
            <a:hlinkClick r:id="rId35" action="ppaction://hlinksldjump"/>
            <a:extLst>
              <a:ext uri="{FF2B5EF4-FFF2-40B4-BE49-F238E27FC236}">
                <a16:creationId xmlns:a16="http://schemas.microsoft.com/office/drawing/2014/main" id="{D36DFD06-AC3C-806B-38F9-6F2A01635B62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9" name="矩形 118">
            <a:hlinkClick r:id="rId36" action="ppaction://hlinksldjump"/>
            <a:extLst>
              <a:ext uri="{FF2B5EF4-FFF2-40B4-BE49-F238E27FC236}">
                <a16:creationId xmlns:a16="http://schemas.microsoft.com/office/drawing/2014/main" id="{721F942E-4191-2DA5-F1A8-4738387AF27F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8" name="矩形 117">
            <a:hlinkClick r:id="rId36" action="ppaction://hlinksldjump"/>
            <a:extLst>
              <a:ext uri="{FF2B5EF4-FFF2-40B4-BE49-F238E27FC236}">
                <a16:creationId xmlns:a16="http://schemas.microsoft.com/office/drawing/2014/main" id="{38466EF6-209E-B403-D5B9-23A3BADE6EC1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117" name="矩形 116">
            <a:hlinkClick r:id="rId36" action="ppaction://hlinksldjump"/>
            <a:extLst>
              <a:ext uri="{FF2B5EF4-FFF2-40B4-BE49-F238E27FC236}">
                <a16:creationId xmlns:a16="http://schemas.microsoft.com/office/drawing/2014/main" id="{0B40C998-31A0-2E11-A5C5-0C14840735EB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6" name="标题 115">
            <a:extLst>
              <a:ext uri="{FF2B5EF4-FFF2-40B4-BE49-F238E27FC236}">
                <a16:creationId xmlns:a16="http://schemas.microsoft.com/office/drawing/2014/main" id="{82FF814B-5254-A0B8-334F-0CF311E0287E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Tools &amp; Task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96559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62002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矩形 57">
            <a:hlinkClick r:id="rId20" action="ppaction://hlinksldjump"/>
            <a:extLst>
              <a:ext uri="{FF2B5EF4-FFF2-40B4-BE49-F238E27FC236}">
                <a16:creationId xmlns:a16="http://schemas.microsoft.com/office/drawing/2014/main" id="{A63FE118-C510-2551-F84F-A29929A739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57" name="矩形 56">
            <a:hlinkClick r:id="rId20" action="ppaction://hlinksldjump"/>
            <a:extLst>
              <a:ext uri="{FF2B5EF4-FFF2-40B4-BE49-F238E27FC236}">
                <a16:creationId xmlns:a16="http://schemas.microsoft.com/office/drawing/2014/main" id="{CEDE53E2-77EA-DE65-5518-8D937D9A2E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57211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56" name="矩形 55">
            <a:hlinkClick r:id="rId20" action="ppaction://hlinksldjump"/>
            <a:extLst>
              <a:ext uri="{FF2B5EF4-FFF2-40B4-BE49-F238E27FC236}">
                <a16:creationId xmlns:a16="http://schemas.microsoft.com/office/drawing/2014/main" id="{DB534DDB-474B-46AF-9EB9-734716B55ED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5" name="矩形 54">
            <a:hlinkClick r:id="rId21" action="ppaction://hlinksldjump"/>
            <a:extLst>
              <a:ext uri="{FF2B5EF4-FFF2-40B4-BE49-F238E27FC236}">
                <a16:creationId xmlns:a16="http://schemas.microsoft.com/office/drawing/2014/main" id="{453F2D5B-ED86-62CA-B43E-91ACDA73DD3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54" name="矩形 53">
            <a:hlinkClick r:id="rId21" action="ppaction://hlinksldjump"/>
            <a:extLst>
              <a:ext uri="{FF2B5EF4-FFF2-40B4-BE49-F238E27FC236}">
                <a16:creationId xmlns:a16="http://schemas.microsoft.com/office/drawing/2014/main" id="{1612FD69-9321-A827-5646-AEE12D1084F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310850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53" name="矩形 52">
            <a:hlinkClick r:id="rId21" action="ppaction://hlinksldjump"/>
            <a:extLst>
              <a:ext uri="{FF2B5EF4-FFF2-40B4-BE49-F238E27FC236}">
                <a16:creationId xmlns:a16="http://schemas.microsoft.com/office/drawing/2014/main" id="{0482FEC2-F65B-E049-90CB-3D138B7F29C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2" name="矩形 51">
            <a:hlinkClick r:id="rId22" action="ppaction://hlinksldjump"/>
            <a:extLst>
              <a:ext uri="{FF2B5EF4-FFF2-40B4-BE49-F238E27FC236}">
                <a16:creationId xmlns:a16="http://schemas.microsoft.com/office/drawing/2014/main" id="{EF718CFC-31AA-2064-18E7-0D7B0BA0D74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51" name="矩形 50">
            <a:hlinkClick r:id="rId22" action="ppaction://hlinksldjump"/>
            <a:extLst>
              <a:ext uri="{FF2B5EF4-FFF2-40B4-BE49-F238E27FC236}">
                <a16:creationId xmlns:a16="http://schemas.microsoft.com/office/drawing/2014/main" id="{10EC13B0-F3B4-C9B7-4EC4-C7BA86C58CC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50" name="矩形 49">
            <a:hlinkClick r:id="rId22" action="ppaction://hlinksldjump"/>
            <a:extLst>
              <a:ext uri="{FF2B5EF4-FFF2-40B4-BE49-F238E27FC236}">
                <a16:creationId xmlns:a16="http://schemas.microsoft.com/office/drawing/2014/main" id="{067138AF-BDA8-AA7C-DBD1-48621332EEC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9" name="矩形 48">
            <a:hlinkClick r:id="rId23" action="ppaction://hlinksldjump"/>
            <a:extLst>
              <a:ext uri="{FF2B5EF4-FFF2-40B4-BE49-F238E27FC236}">
                <a16:creationId xmlns:a16="http://schemas.microsoft.com/office/drawing/2014/main" id="{AED8589B-F8C9-937F-1FCD-BB48AB78E97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48" name="矩形 47">
            <a:hlinkClick r:id="rId23" action="ppaction://hlinksldjump"/>
            <a:extLst>
              <a:ext uri="{FF2B5EF4-FFF2-40B4-BE49-F238E27FC236}">
                <a16:creationId xmlns:a16="http://schemas.microsoft.com/office/drawing/2014/main" id="{06860954-13B2-5652-1001-F9D88C0B841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47" name="矩形 46">
            <a:hlinkClick r:id="rId23" action="ppaction://hlinksldjump"/>
            <a:extLst>
              <a:ext uri="{FF2B5EF4-FFF2-40B4-BE49-F238E27FC236}">
                <a16:creationId xmlns:a16="http://schemas.microsoft.com/office/drawing/2014/main" id="{6F5145C5-31BD-133E-E3B1-59645790F3A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3004F39E-3EA0-A26A-896D-C4F925878DF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5" name="矩形 44">
            <a:hlinkClick r:id="rId24" action="ppaction://hlinksldjump"/>
            <a:extLst>
              <a:ext uri="{FF2B5EF4-FFF2-40B4-BE49-F238E27FC236}">
                <a16:creationId xmlns:a16="http://schemas.microsoft.com/office/drawing/2014/main" id="{8E51A9D8-8362-EB9D-B7DA-FF1D712C2D6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44" name="矩形 43">
            <a:hlinkClick r:id="rId24" action="ppaction://hlinksldjump"/>
            <a:extLst>
              <a:ext uri="{FF2B5EF4-FFF2-40B4-BE49-F238E27FC236}">
                <a16:creationId xmlns:a16="http://schemas.microsoft.com/office/drawing/2014/main" id="{DDA6701C-4E87-C00C-9CDF-6BFFE281F96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43" name="矩形 42">
            <a:hlinkClick r:id="rId24" action="ppaction://hlinksldjump"/>
            <a:extLst>
              <a:ext uri="{FF2B5EF4-FFF2-40B4-BE49-F238E27FC236}">
                <a16:creationId xmlns:a16="http://schemas.microsoft.com/office/drawing/2014/main" id="{90E64D3F-3348-AA91-9DD9-B05C0181E87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2" name="标题 41">
            <a:extLst>
              <a:ext uri="{FF2B5EF4-FFF2-40B4-BE49-F238E27FC236}">
                <a16:creationId xmlns:a16="http://schemas.microsoft.com/office/drawing/2014/main" id="{C5498BDD-DC23-CAA0-0D44-DA72C0AE145D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688096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03736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66C463EA-2CEF-3B2C-6FCF-D039A050BF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B48BC020-CF97-6B7B-0067-13020F088C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9F863F8D-ECB2-78F1-FC00-AE1A2EDB2BC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2A2B5E68-7B62-A325-A99C-F65B08C0D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A6470768-B993-EC71-BDE0-FE2EF06FE1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9984FDA6-6C4B-DEEC-1858-D900C179243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A64D249D-B801-8765-2C47-F5CFCC602E7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BE4F5B93-D12F-637B-1C63-8C91A8D6F6B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499335"/>
            <a:ext cx="487186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BE050663-4D01-972F-0866-9020734BE42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919838C8-3729-4AAA-BEEC-F96CA57C6CF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7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0833EB76-5EAA-2C9F-2B60-32E9EE7A31B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Exploration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2A7AF9CF-DD13-35E3-08A0-C955FF2B5A0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82" name="矩形 81">
            <a:hlinkClick r:id="rId36" action="ppaction://hlinksldjump"/>
            <a:extLst>
              <a:ext uri="{FF2B5EF4-FFF2-40B4-BE49-F238E27FC236}">
                <a16:creationId xmlns:a16="http://schemas.microsoft.com/office/drawing/2014/main" id="{8727032E-D18D-0BBA-2514-B704224AA1B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5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9F190931-43F5-D464-49F0-52AE2A597C7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Scene Understanding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82D8E596-96AD-8F4D-0BE9-59A84571016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9" name="矩形 78">
            <a:hlinkClick r:id="rId37" action="ppaction://hlinksldjump"/>
            <a:extLst>
              <a:ext uri="{FF2B5EF4-FFF2-40B4-BE49-F238E27FC236}">
                <a16:creationId xmlns:a16="http://schemas.microsoft.com/office/drawing/2014/main" id="{B80E4208-E7B2-82AB-4C29-900376C5940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3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75036ADB-2A2F-9B7C-9DB9-EAF6E364661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441569" y="310850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Simultaneous Localization and Mapping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A6B63C58-E74A-5662-B2AC-FCF97496C632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矩形 75">
            <a:hlinkClick r:id="rId38" action="ppaction://hlinksldjump"/>
            <a:extLst>
              <a:ext uri="{FF2B5EF4-FFF2-40B4-BE49-F238E27FC236}">
                <a16:creationId xmlns:a16="http://schemas.microsoft.com/office/drawing/2014/main" id="{87AFC1AB-1663-CDBC-6471-8B2F1313CB6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1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4B486B1C-5BBE-9259-F53C-E7A9DBAEB313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441569" y="264489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5D2026F0-F1D3-F6EF-E548-94911367265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C4D621DD-BD99-D1AB-65C2-3A7668ABD287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559EA960-8C6A-2B53-E1D8-A4DAF3DDF047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A924D83F-6910-3E40-189B-4DD5F409651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01944B11-433A-E914-52A3-2B588B9F3DD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1E7DD47C-F152-FAFE-FB2A-4771DB5DB72D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00E84928-9044-D2BF-46B5-F2C6D288E648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1FFCCF0A-9824-EAD3-7C47-1A04802CCE6D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70E67BF8-D1B9-1478-D1FB-F5960D55F39C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2851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B6AD45-82D2-7A2D-828C-B075B6F80A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472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1397"/>
            <a:ext cx="10515600" cy="1325563"/>
          </a:xfrm>
        </p:spPr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Introduction</a:t>
            </a:r>
            <a:endParaRPr 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96E296C-B1EE-6DF8-ACDA-8AF71F06E6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492562"/>
            <a:ext cx="5864127" cy="3389832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7BFC14D6-0BF3-BF4A-20D1-7EF3684E7B65}"/>
              </a:ext>
            </a:extLst>
          </p:cNvPr>
          <p:cNvSpPr txBox="1"/>
          <p:nvPr/>
        </p:nvSpPr>
        <p:spPr>
          <a:xfrm>
            <a:off x="6848913" y="1617911"/>
            <a:ext cx="4753061" cy="3264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</a:pPr>
            <a:r>
              <a:rPr lang="en-US" altLang="zh-CN" sz="2400" dirty="0"/>
              <a:t>Google </a:t>
            </a:r>
            <a:r>
              <a:rPr lang="zh-CN" altLang="en-US" sz="2400" dirty="0"/>
              <a:t>学术搜索结果，主题为具身 </a:t>
            </a:r>
            <a:r>
              <a:rPr lang="en-US" altLang="zh-CN" sz="2400" dirty="0"/>
              <a:t>AI</a:t>
            </a:r>
            <a:r>
              <a:rPr lang="zh-CN" altLang="en-US" sz="2400" dirty="0"/>
              <a:t>； </a:t>
            </a:r>
            <a:endParaRPr lang="en-US" altLang="zh-CN" sz="2400" dirty="0"/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</a:pPr>
            <a:endParaRPr lang="en-US" altLang="zh-CN" sz="2400" dirty="0"/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</a:pPr>
            <a:r>
              <a:rPr lang="zh-CN" altLang="en-US" sz="2400" dirty="0"/>
              <a:t>纵轴和横轴分别表示出版物数量和年份；</a:t>
            </a:r>
            <a:endParaRPr lang="en-US" altLang="zh-CN" sz="2400" dirty="0"/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</a:pPr>
            <a:endParaRPr lang="en-US" altLang="zh-CN" sz="2400" dirty="0"/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</a:pPr>
            <a:r>
              <a:rPr lang="zh-CN" altLang="en-US" sz="2400" dirty="0"/>
              <a:t>自 </a:t>
            </a:r>
            <a:r>
              <a:rPr lang="en-US" altLang="zh-CN" sz="2400" dirty="0"/>
              <a:t>2023 </a:t>
            </a:r>
            <a:r>
              <a:rPr lang="zh-CN" altLang="en-US" sz="2400" dirty="0"/>
              <a:t>年 </a:t>
            </a:r>
            <a:r>
              <a:rPr lang="en-US" altLang="zh-CN" sz="2400" dirty="0"/>
              <a:t>MLM </a:t>
            </a:r>
            <a:r>
              <a:rPr lang="zh-CN" altLang="en-US" sz="2400" dirty="0"/>
              <a:t>取得突破以来，出版物呈指数级增长</a:t>
            </a:r>
            <a:endParaRPr lang="en-US" sz="2400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BFC0C2F1-AFF6-B2B1-3D42-DEF95A48D9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543034"/>
            <a:ext cx="12192000" cy="949841"/>
          </a:xfrm>
          <a:prstGeom prst="rect">
            <a:avLst/>
          </a:prstGeom>
        </p:spPr>
      </p:pic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0DD4E27B-97C4-0A7E-1341-77CB29951D01}"/>
              </a:ext>
            </a:extLst>
          </p:cNvPr>
          <p:cNvCxnSpPr/>
          <p:nvPr/>
        </p:nvCxnSpPr>
        <p:spPr>
          <a:xfrm>
            <a:off x="0" y="5234730"/>
            <a:ext cx="12192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274170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09934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FC70DB71-4D4C-CBC1-FBA9-3B89D17639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563F2640-7BFC-6244-29AF-13DEB325812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C061A659-CE3A-E07A-4736-E63C67E517D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CC773406-6C70-36FE-72AA-12D965282BB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C99265E5-C105-E993-8085-1B100653287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4DF1F4F7-A1B6-C0E2-1F9F-DC60507B3C1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A775E632-B69E-3D9A-018C-FE2C196083B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39A8E9DE-69B3-8D35-6255-70665BC0972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499335"/>
            <a:ext cx="487186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90DA3766-1E6D-C80B-9986-C2F825CA485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30923F88-04EF-774C-8354-91F63F5DCB1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7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99547B38-1B46-9249-5F15-BBD25C67AC9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Exploration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872B3614-BDA4-60DD-12D0-7CD52F45ED48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82" name="矩形 81">
            <a:hlinkClick r:id="rId36" action="ppaction://hlinksldjump"/>
            <a:extLst>
              <a:ext uri="{FF2B5EF4-FFF2-40B4-BE49-F238E27FC236}">
                <a16:creationId xmlns:a16="http://schemas.microsoft.com/office/drawing/2014/main" id="{2D724EC2-72A1-B9A2-6484-7DAA4298BA4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5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E909208C-03AD-4354-EFFB-44EE194A36C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Scene Understanding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8D9E1589-742F-140E-5F06-012BD3E67B7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9" name="矩形 78">
            <a:hlinkClick r:id="rId37" action="ppaction://hlinksldjump"/>
            <a:extLst>
              <a:ext uri="{FF2B5EF4-FFF2-40B4-BE49-F238E27FC236}">
                <a16:creationId xmlns:a16="http://schemas.microsoft.com/office/drawing/2014/main" id="{365204F8-7833-7E7E-9AD5-0EE45C3FBB8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3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FC60857A-CC49-273C-2049-06107E583BE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441569" y="310850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Simultaneous Localization and Mapping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9191D72D-66A7-BB4E-44EF-FBC2B72DB06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5F976D16-4794-4D4B-988E-80D36FFDBC59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441569" y="264489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013A3B68-77D8-6452-EE86-3934DF40962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1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5A9D8B5B-D18A-6088-2052-560AACCCB62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441569" y="264489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B199277D-499A-9479-AA17-A3B9F20DFE2E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2B4889B9-395F-7478-9E94-6FA40DB0B04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93389860-59D6-3AFB-0F4E-52D0FB960F57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4CDA5310-0D62-56A6-A5A2-129F214708B8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A3BA6E9A-1D26-D05C-33D3-368BC14EDBDE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B5EB9107-B62B-308D-ACAB-CCE422BF113C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91DF925C-3F15-E2B0-437B-4E7CD01D1DFF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0AB1E653-8505-A02E-A488-79429D70DDBC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305713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63488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5530FE72-C6E5-6757-E00E-A9494A8E9D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E050081A-D04E-353F-1480-7A24E5DC32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FBAD3436-CE53-E85D-5BE7-F2CBB406F84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A5E9A336-9EE6-9B50-D11B-50FFCAB80E8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D7EEBC8A-13B7-701E-E680-8AA9C6FBDA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90BFF29D-305D-ABD6-4A7E-AB70066BE70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5129E81F-E4BF-A137-E3CF-EC20C028657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F2D4D7B6-6863-F61A-D729-45F380DDA05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499335"/>
            <a:ext cx="487186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FBC099F7-7598-86F1-B1B8-6D3BF47E854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0D455236-AAFC-81AD-72DD-BD256FAA45E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7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A7D416B6-3372-6B47-BFE4-25E1270C701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Exploration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DBF829A7-7D68-A5AD-7A5B-FC172510310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82" name="矩形 81">
            <a:hlinkClick r:id="rId36" action="ppaction://hlinksldjump"/>
            <a:extLst>
              <a:ext uri="{FF2B5EF4-FFF2-40B4-BE49-F238E27FC236}">
                <a16:creationId xmlns:a16="http://schemas.microsoft.com/office/drawing/2014/main" id="{D906A84D-F540-1AB0-1416-FF4852B6856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5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0661A8BC-8AEE-D827-9A63-0C77F00DD23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Scene Understanding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2CB2C8D8-58BF-52A1-0722-7A7CD2A3E65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B8074579-C179-3BC4-7574-D978CF2D83E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441569" y="310850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5393A3AC-9408-E1B7-026A-A664D05BF33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2120F010-E172-0DE2-54C7-99B72162152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Simultaneous Localization and Mapping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A04796AB-C1EB-43D0-FB30-F11AC961DF9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E1A26D58-D96E-A7F0-7611-B4AAE88405D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1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292057BC-5B1E-CE22-4457-F1645BD93144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441569" y="264489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7D3AA391-CD0A-B362-CFAA-01E550F49B59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170A4BFE-7C3E-2A21-A70D-9AB0DAA43E21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C5908F69-D8C4-550B-3087-894B8381F6B7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076B8D70-E2B7-A157-9DBB-BB8B05D9347A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73838571-09D1-027B-C075-B18F4814E54C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48215075-7071-1220-BFFB-231E8D9C3333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FB19F046-EA62-6B4F-2A9B-A9889FC4B93E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2424A81C-895B-3C73-FC09-E12DD0DC4D35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945671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41085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42A8ECAE-5D58-A560-2C39-7BC675525F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4E6E18CA-48D7-FBB0-9CEE-70748DA935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7E2BC81F-E36E-6030-6DB1-7F080328FC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F9F1B24A-FBDE-0131-8B9A-FF8AC0A4A19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F4F3F81C-0E46-6CB6-0ABC-90706904524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D011FAD1-0D4F-5068-C4B3-F1A1DC05D4E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B0747296-30F6-1C3D-BFCE-CD702E23B6D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5F6EA576-2293-0892-B22C-FCBBF65C6CD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499335"/>
            <a:ext cx="487186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11062AB5-6F7A-5F60-BF19-43D07C81B6C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EBAFCF75-CC3F-6A5D-A58B-4D594B43658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7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3DC8BF5F-84B3-9F3E-5942-25F9D34EC10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Exploration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1B177660-3F2E-D874-05EB-3D3417F86E5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CBCE47F7-FFAB-EB23-A182-3192ECC194B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441569" y="357211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80EF63BD-91AC-5D5A-9A4E-5C5AB40E261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7DDC3591-0841-6089-A6A6-C81FBAFFC71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Scene Understanding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5DD90433-04C0-531A-4BFD-188E5238B14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7D3AD8D2-9A99-552A-95AD-42D118D1E69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6C5239A7-3DFB-F95B-78C5-23C6348D4D44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Simultaneous Localization and Mapping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68332013-54B1-E9D6-B74A-0D0E43C8F90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730EA4DA-5032-B5F3-97A0-6E776D203CD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1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0543570A-48DF-5D25-C0F7-37EE2696EFD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441569" y="264489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B5607209-899F-5383-78DE-3EF556E821CC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69E2A743-CF1F-1A53-F188-4F876A8F43B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D8FCB056-67EB-E695-F599-9A88BE37D64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01D43413-D55A-E7B4-D8A3-864FEB7E020D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2C797BBC-A116-F80B-A9B5-0C5B0503C49B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F50D1295-1819-C72D-11B7-AC9EBE891E4E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EC28F337-B2C8-9B2E-2E6A-FBD93051C737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1C8A5E1A-E480-B6E5-6B8A-1CA9A84542BC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580809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2768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D71AC05F-D37D-2906-5A7C-19E423AEFA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32625628-2009-A895-267D-9ED3DF293F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542655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9229A03F-F9B5-C9F0-DF80-1BFE081BF93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C129DB5C-3BAA-A7F6-35D1-56EA432AF71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EA19A92D-14B2-D827-3AB9-DD6C9F79076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AED855CD-4D2B-9C7C-C599-A2B67FA248F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7C2DD111-335C-5EF2-DDE6-46C86C3F44B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E729592E-1F3A-97BA-8DEF-B2DD606CC65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499335"/>
            <a:ext cx="487186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88A7E723-F56A-8F1F-B2E3-A4B46E126FD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51B09527-27CC-C8A8-A486-1AAA8BAC021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41569" y="403572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7605AA68-93CA-0BA5-95AD-753C8204821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D484A205-D2E9-01A2-C1B8-7B44D41AC94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Exploration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4AFED78C-12C8-8C23-827C-89F57905E0F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C3076BA9-AFD3-C0C4-6D70-4528632DB0E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17784790-5ED4-F791-EC46-0884EAB9E09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Scene Understanding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52CCEA11-EB21-2DF2-EC4E-5820C352031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6E921906-3ED6-0BA0-8CA5-E94FC7C4FA19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3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BE89C39A-9FAB-F760-83B3-CE5EA762C8E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441569" y="310850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Simultaneous Localization and Mapping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85350BB2-BFE7-7B11-EA1A-EDF27B4DCC4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B91EEFB0-CD17-8D0A-54AD-2206F77CE9E4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1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3178CA66-4226-0D79-7564-6328CE5F0333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441569" y="264489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3640DEA6-DAC7-4534-C56D-60B625EB48DD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B58B5ABB-7252-B294-B93B-D7398F0565C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F733F35F-FD23-E683-D8CE-15011C5FC437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FAEDD1FB-0807-9339-85F2-4A4D24508F9E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F4571B16-52D1-30C2-52DD-35133161E308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36A707D6-8B6E-06ED-715A-858EC3733ABF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F9A2B041-B8BC-4DE4-9953-0B8D2E836DEF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C772B965-0AEB-ECA3-6EAA-720CBE1F2F2E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152730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4892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10F5592D-AC30-F2E9-1F5D-6D10F5955D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7DFC597D-68A1-5E96-75EA-74006D3410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BDC9AE6D-27C5-A54A-375F-4AB4D1B6780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157C31D1-7D0F-5F87-5606-C53BCC8B758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8DB8150C-78D1-F64C-0FAE-2157EEE335B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487186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8CBBD8A8-5F69-87AF-312B-F5CC9BF0619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C79B1090-B7A1-02B5-D165-20E4FF38BDC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5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6CA516DD-A13A-7F58-44B8-A206A15540E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One Stage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718EBBE9-97BF-18FE-DF30-6351EFCC604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DC616F6E-D030-D3F0-A090-4B1560FC975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3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F702A601-41D8-D77F-B3E4-06C7CD27327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wo Stage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0702A645-EEDE-FAB6-B6D8-35D7CCF1787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3" name="矩形 72">
            <a:hlinkClick r:id="rId33" action="ppaction://hlinksldjump"/>
            <a:extLst>
              <a:ext uri="{FF2B5EF4-FFF2-40B4-BE49-F238E27FC236}">
                <a16:creationId xmlns:a16="http://schemas.microsoft.com/office/drawing/2014/main" id="{DD573475-D4C4-6321-64A2-B6C36EAFE08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1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D8A21A64-AFC2-BE75-AF5F-0F9B0ED9633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10850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F24E91F7-98F2-36EB-0F21-8A82293812E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D8666089-A867-E5B6-CF2A-A405FF13A1D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3342F83D-E460-A3B8-0A10-5B03EDE0DAEE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AF7AF169-504A-33C2-2E40-C31C7586516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C1A33B70-498F-471F-3D27-44EA6655DE1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0FF7B2A9-8466-F648-6897-5A77ECEC335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408BA432-DDC1-4FA2-E54C-4B0FD5A0918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3541F2CF-4058-B7D9-06E5-0ADDF6DFBE28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8E9CB9A4-BF3D-761A-6944-E79B77C5B082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FDF3B278-0784-FAE8-25D4-6F323CC1A37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733C6AE6-A54C-13B2-3040-057C7E1F2CD3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C7FFDC1F-2773-3FE1-AE35-A12C3FD912BB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64106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EF249CD-D19B-03AD-E1C1-399CD75EA1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8744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8392"/>
            <a:ext cx="10515600" cy="1325563"/>
          </a:xfrm>
        </p:spPr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Introduction</a:t>
            </a:r>
            <a:endParaRPr 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3CBAC8B-D2E8-C050-A670-2EC4BB1A71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2367" y="1051103"/>
            <a:ext cx="11827265" cy="4084674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3A24B577-5502-275B-6587-0763809AA18E}"/>
              </a:ext>
            </a:extLst>
          </p:cNvPr>
          <p:cNvSpPr txBox="1"/>
          <p:nvPr/>
        </p:nvSpPr>
        <p:spPr>
          <a:xfrm>
            <a:off x="182367" y="5244834"/>
            <a:ext cx="109000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dirty="0"/>
              <a:t>基于 </a:t>
            </a:r>
            <a:r>
              <a:rPr lang="en-US" altLang="zh-CN" dirty="0"/>
              <a:t>MLM </a:t>
            </a:r>
            <a:r>
              <a:rPr lang="zh-CN" altLang="en-US" dirty="0"/>
              <a:t>和 </a:t>
            </a:r>
            <a:r>
              <a:rPr lang="en-US" altLang="zh-CN" dirty="0"/>
              <a:t>WM </a:t>
            </a:r>
            <a:r>
              <a:rPr lang="zh-CN" altLang="en-US" dirty="0"/>
              <a:t>的具身智能体的整体框架。 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dirty="0"/>
              <a:t>具身智能体拥有一个具身世界模型作为其“大脑”。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dirty="0"/>
              <a:t>它能够理解虚拟</a:t>
            </a:r>
            <a:r>
              <a:rPr lang="en-US" altLang="zh-CN" dirty="0"/>
              <a:t>-</a:t>
            </a:r>
            <a:r>
              <a:rPr lang="zh-CN" altLang="en-US" dirty="0"/>
              <a:t>物理环境并积极感知多模态元素。 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dirty="0"/>
              <a:t>它能够完全理解人类意图，与人类价值观和事件因果关系保持一致，分解复杂的任务并执行可靠的操作，以及与人类互动并利用知识和工具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6282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85827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81CCE544-F17F-FE6E-31A2-528380D88C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4EEC0875-AE10-C601-4972-98F320CACC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89951416-8253-2309-F817-9D21E0ADCF4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FB0266B3-79A9-C52A-E94F-AC81B568439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A5697CCA-E211-44FE-512D-361A9D40041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487186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72689DFD-4CA6-63FD-688D-C56543BC321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E76BA7EE-680E-44AC-772A-F1FAE071BB4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5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26BB04BE-F8FD-1CBA-3520-DF7564732EC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One Stage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FDA0671C-F431-3DE9-6D56-16D98219DAE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490FBBA5-1E24-3231-71F2-60BAF9741CE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3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8F073C74-2D6D-8A63-6604-61CA32D7C7F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wo Stage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8B5EB9BA-E741-4523-C67A-ADB06389A5A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36A06562-9168-8B41-03E3-A06B5014831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441569" y="310850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9B709862-C91D-B7DA-AAB9-E661E3F7B6D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1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B508D77B-CBF3-950D-4DF7-C8D30F9EE22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6FFAA8B8-B6C6-45D3-35A1-4AEF5962520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F992BDA3-87BE-CFF3-172C-843CE0C580BE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1A4981CD-A8BB-D45B-B158-93ACB38A0E9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F2D5EEB8-E5DE-0CA6-833C-6BCB2D1752D0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D07C6FD0-6D84-551D-A155-9E0051FCFF3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EE049511-B22B-68FA-1782-05AC9A24849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FA5E111E-5EA4-FC79-133B-403F2687D628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7120F60C-3E77-F706-23FC-AB707A13516C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B546A607-E45C-E85D-3778-18B68E8ECC1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1CC08EF0-5C8D-0791-4549-5BFB37E906F2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AFAB0B0C-A1C2-FCB5-FDEA-FF9893679C53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030906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57883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3651E9C8-6C13-576F-D017-2011B8C51B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8B48C69E-0FB9-5B64-26AB-29511E20C9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F1B9E174-5A30-1DDE-78E8-5E8D544066E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8B343F67-FBF4-C617-9357-AA99C5CDB4F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07FFAC99-FCAB-6832-0826-3746196CB45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487186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D53FF3AC-567D-7510-D732-9C9A426617A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2052DEBA-DC80-F0AC-45AF-B259F993504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5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3552903C-8A5F-191B-FF90-AB1248590E7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One Stage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C498D8CC-404C-5E01-50ED-FD218493F0E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4257C33C-4D15-983C-B29D-82E59AADB25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41569" y="357211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C1164300-3AB7-4B56-7A9E-531AF000D62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3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21107D5C-7B37-63E6-4555-81B653F31AB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wo Stage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7249585B-A2A2-461C-3374-7DFCAA60681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6379F610-693C-69F0-4A72-1D2545A599D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1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800A7A49-C0A8-7F63-06FE-1C352B9E10E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0CAF3E84-82D7-AE56-B5E0-6E3AE1B4760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7B5F5641-0909-6CB6-18CC-83DC23EB08C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0A5E0678-99BF-661C-5922-9087F8DB7A5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BF886D4D-24C8-3E65-AE5C-22A81AD49D3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A554249C-A557-7DFD-425A-CEC90275093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1CC62A48-70BF-E37B-4D21-50A01A64688F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96AEF2AD-4380-F32F-0ADF-9D893431767F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694FDF57-1D2D-E38C-26C5-1933CBCF078A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389B80E3-5345-EA2B-BCED-60C80A85B7B4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8946FD28-1CA9-EF42-9AE4-34847BC49317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ABA088D8-D374-8997-8FDD-2E571AC8B4BD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893857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70965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7CD5FB99-8D4D-55DF-D2DA-6B2ABC48B3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ED38A198-1A24-D290-0CFC-95A684826B3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882E6957-4F45-913A-E10F-D0D5B3B4AA7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6DB92A72-0812-03DC-C92C-84D65E3D697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E36A9FB0-CA10-EC20-9EA5-BA15E4EA3E7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487186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A9C41DCA-FE44-9A8A-4138-DC4AD464532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65EC0E58-477E-14FA-EFCA-BD782D0D07D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441569" y="403572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17F0D554-08C7-9ED5-EB12-F38D3CD3882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5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9972BE74-57BD-3827-4D24-59C4E33C271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One Stage</a:t>
            </a:r>
          </a:p>
        </p:txBody>
      </p:sp>
      <p:sp>
        <p:nvSpPr>
          <p:cNvPr id="76" name="矩形 75">
            <a:hlinkClick r:id="rId31" action="ppaction://hlinksldjump"/>
            <a:extLst>
              <a:ext uri="{FF2B5EF4-FFF2-40B4-BE49-F238E27FC236}">
                <a16:creationId xmlns:a16="http://schemas.microsoft.com/office/drawing/2014/main" id="{75072210-1697-3870-F5E7-6194ABE48FE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3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8D7BDD43-9FEA-C285-DABE-45BE3307A14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3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E31C6B60-30C9-4A15-CF16-2A7EBFAD437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wo Stage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5B3D9DB9-8324-00F6-AF64-F19E38F7129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2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30FF7ED9-E089-06B8-A4E1-0D1E9864A34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1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E977F296-6AB3-449A-481F-F16632D2F5A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441569" y="310850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D7F99464-327F-1CB3-C88D-06534B426BB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.1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26C5C9A6-7E8D-1A4A-6011-7F32408E051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70C0995D-CE80-403E-8948-6DD22AA1E45E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C7E34D9F-2A7B-C37E-19BA-E03433F94CB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19411F85-FBCF-5358-3DB6-09084D5D961A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58DB44AE-ED9D-2F12-347B-7E5FA4D4988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4FB6CCCA-E445-A34A-BA8D-EC27C585411F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CCD9596C-4E67-D72B-10CD-793986D953F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98CA9C42-71F4-35DD-5092-332148B7BF27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468920D2-7FE1-22D1-8F9F-6F8497485D8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189E636E-9A1F-5340-DF94-91698ADB4DE6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01408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04738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982F28E6-C7A6-17B7-B3E7-D705416E343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CBE8E87A-3814-EF8D-6D3D-6BC6368AE3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749C50C6-CE49-FDB0-803B-B851CD1CA6D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4BE04097-01AB-6627-B314-E939D8A293A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3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EC2A8F4B-1052-991C-634B-A8B80823C05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440825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B86F9E33-87CD-7206-BC61-DF11F0872FB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ECE5F129-70E3-9D5E-1507-8B5455A1F4B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1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F1DBFEB1-F358-ADDC-652F-88C4AE1BDF0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71F07BD0-82EF-0D14-F4E5-11996D85F60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A0A21677-2712-B660-CAF6-BB51C0C253B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9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B1E8D20D-8246-33C6-73FB-F3E84B6582B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79F50274-2B02-D8DA-15EF-D249B510A41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6781A5E9-9D40-EDE9-412D-8020F5F85D7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660B69A4-E596-0FF0-1BB6-6E8BA74F96A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BE4159DA-FCBC-93B2-2CCF-020A73E64B8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B89A1616-4C27-7978-8C07-1E02A9DFF94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73876202-B815-C4E4-1553-F53FF9C122F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AA99FD66-ED9A-7B64-C559-58C5B0E5B73E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2B21EE51-C24A-EFFE-922B-CE5305A78F08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63058224-50B1-EF6E-D835-54B659F109C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952AC0DE-3521-5857-B05A-A9CE1819437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CFEEAAD6-A4C1-CCC1-A1C3-BE7CDDB5867E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EFA92EDA-2498-3577-1627-965F10C0E841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5DAAC616-A0D7-FF0F-F173-3CB879959159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CFC010BB-E311-C5CC-4126-9764B4708E2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7A10B45C-9A1D-2B7A-0EB2-37FAF1D43A92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924666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5336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90BF7865-22AA-83DE-ADDC-FB7EB9037B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EB71B767-F787-9F48-86D9-2AA3F6DF1A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D8ABEAC2-E45C-0F1D-E07B-0B550314007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8DD2F54A-4501-B4E3-A24A-C2B9CC1D51E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3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CA02280A-EEAC-BD0A-78FE-EF12D5D63E5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440825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8E52537B-BF4D-FD59-D6C5-1D90CC43A3E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BA29CCFE-4895-F7C4-0D22-2F16FD57632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1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7FE6D605-5FF6-8849-A807-10D459F3879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224263AC-A882-37BE-4B56-17000DD117A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FD78A1C7-79EE-5EBC-9F8E-120D735FA12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41569" y="357211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A8113DBC-008C-A8A9-D201-CF998F0BF9E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9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24530C50-19BF-8A8A-275E-60539C70AF7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580B9F18-3888-6EEC-C153-F3EF0580272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D359DF76-FE23-DB2A-C5C7-50EED7055B5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5949610E-6CA2-A549-C809-CE2263426AC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1131B2F3-EF9D-445E-A89E-CCFED7900626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C53ED05D-5FC5-B48F-8AFA-25F0DC7BEC3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89A872AB-5AB4-1F98-022C-7ECFE81388D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FFAABA10-A6DC-9053-1AF2-C596EFDC1B9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2EFB1BFE-385C-604A-9818-22F554D4EE05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517E7CEF-572F-6861-613A-6D9CDA4ED79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32A0CB4D-1A95-2382-D960-939589F4B179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B1516F05-3309-7FCE-AC48-D9741FD6BD6F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6754A709-21C1-A026-C5CC-4ABDBCD17EA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3A3975F1-FFA9-5A50-6809-1F3800EA89FB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9288E3A8-EBAC-C59B-8AFC-44E48BAEA4EC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8545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F8858CC-F854-0C8F-2BBD-830F4D05B4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7497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sz="4400" b="1" dirty="0">
                <a:solidFill>
                  <a:schemeClr val="tx1"/>
                </a:solidFill>
              </a:rPr>
              <a:t>Introduction</a:t>
            </a:r>
            <a:endParaRPr lang="en-US" dirty="0"/>
          </a:p>
        </p:txBody>
      </p:sp>
      <p:pic>
        <p:nvPicPr>
          <p:cNvPr id="4" name="内容占位符 3">
            <a:extLst>
              <a:ext uri="{FF2B5EF4-FFF2-40B4-BE49-F238E27FC236}">
                <a16:creationId xmlns:a16="http://schemas.microsoft.com/office/drawing/2014/main" id="{DB0B29CB-8E6F-6BB7-835A-D4F4789E30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0" y="1522909"/>
            <a:ext cx="12192000" cy="453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756955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29431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3C78ED51-C637-D721-3E1B-325F0D6B8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7DB90550-8A42-EA63-FDA3-F40398238F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CC182F41-830D-9242-4640-6AF46EF70B7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A97CE001-B826-F53B-568B-7E1C18AFD49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3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FB6EC6BA-1479-A366-7160-566A67D9114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440825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7EE2D4C8-D691-D86F-A178-8D33DEF5498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1B459E4C-C770-F980-5926-8072E745782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441569" y="403572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6079CD84-B380-9691-F82F-1602EC145A9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1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23246E9F-25A2-A8B6-682B-CE09AF6B451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76" name="矩形 75">
            <a:hlinkClick r:id="rId31" action="ppaction://hlinksldjump"/>
            <a:extLst>
              <a:ext uri="{FF2B5EF4-FFF2-40B4-BE49-F238E27FC236}">
                <a16:creationId xmlns:a16="http://schemas.microsoft.com/office/drawing/2014/main" id="{59967C56-6101-34D4-81EF-3A129EBD0EF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A02ECBB2-6D91-F040-E1DC-681571F3093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9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780C36EB-C7D5-ECF1-EA66-F611C9ABB94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5144A827-F0FB-B3F4-0BB9-AC2AA291B03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10DC67B5-412B-EA44-7588-A6AC9916CEAF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273A4866-FF72-C0BA-DCF6-BA239296261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3D328847-BD75-21A0-A21A-EBCFAB69D26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7CE9F116-8058-9AEC-93B6-3AAD8958EFC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C589527A-BFD6-4DBA-841E-709865A340B3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A230E3F8-C83D-398B-9DD8-2D675E1A9F2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8BD77A9F-6F7D-15DA-70E2-B0A2D2085A4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98BCD109-B19F-C3B8-F125-6020DEDBF601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9FD7EAF6-6683-CD14-A224-79D712625A71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07BE23DF-C5A6-E3F3-DAB2-84906B268515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C8A64B5B-F6FB-0D77-FC60-B891818CF1FF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A9E3797F-7258-6581-0A52-CD28B73E62C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6B2F627C-E23C-50A1-1C3F-FFC8C38310DE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878766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50044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D2F5E4A0-57A3-A127-3E9F-9337228B63D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2C7CBEB1-E12A-15F4-818C-8BB4DEE4B8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24A8DEE5-471E-64AD-140F-B417E5DCC7F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702167A8-7488-5287-11A8-67CB52F0A31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41569" y="4499335"/>
            <a:ext cx="1023369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138EB80D-5AA4-1065-41A6-6915DA4B5CD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3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7B09AF35-3F7A-39EE-0A1B-4A8A0A62E8E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41569" y="4499335"/>
            <a:ext cx="440825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79" name="矩形 78">
            <a:hlinkClick r:id="rId30" action="ppaction://hlinksldjump"/>
            <a:extLst>
              <a:ext uri="{FF2B5EF4-FFF2-40B4-BE49-F238E27FC236}">
                <a16:creationId xmlns:a16="http://schemas.microsoft.com/office/drawing/2014/main" id="{D29E0E72-2563-D1A9-69C7-61EBE624160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3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B7A6D01A-C1DD-0C40-0784-8BBCEBEDB8A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1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48D3D05C-7AD6-3BB9-72FB-ACB7F67117C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76" name="矩形 75">
            <a:hlinkClick r:id="rId31" action="ppaction://hlinksldjump"/>
            <a:extLst>
              <a:ext uri="{FF2B5EF4-FFF2-40B4-BE49-F238E27FC236}">
                <a16:creationId xmlns:a16="http://schemas.microsoft.com/office/drawing/2014/main" id="{18270161-FD4A-FBE7-1FFD-6056EA49CFA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2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E5D92ABD-96E9-AED4-296F-A61955BE916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9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77033A40-28D8-344D-C43A-D1422DF421B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357211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73" name="矩形 72">
            <a:hlinkClick r:id="rId32" action="ppaction://hlinksldjump"/>
            <a:extLst>
              <a:ext uri="{FF2B5EF4-FFF2-40B4-BE49-F238E27FC236}">
                <a16:creationId xmlns:a16="http://schemas.microsoft.com/office/drawing/2014/main" id="{FF7AEE15-A66C-6559-1E53-09120AD5DB3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.1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0BD7C5EF-535F-7E9C-5B42-C21BF196865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42E7569B-973E-6DC3-6F93-6682D8AE0EE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70" name="矩形 69">
            <a:hlinkClick r:id="rId33" action="ppaction://hlinksldjump"/>
            <a:extLst>
              <a:ext uri="{FF2B5EF4-FFF2-40B4-BE49-F238E27FC236}">
                <a16:creationId xmlns:a16="http://schemas.microsoft.com/office/drawing/2014/main" id="{5EB447B2-84D0-EDEE-82F1-9949800E6AC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D32E7FC3-DBEA-A58A-9720-42B7E0E3BAB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F87856D5-B5BB-29F5-776F-4806E8B215D4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67" name="矩形 66">
            <a:hlinkClick r:id="rId34" action="ppaction://hlinksldjump"/>
            <a:extLst>
              <a:ext uri="{FF2B5EF4-FFF2-40B4-BE49-F238E27FC236}">
                <a16:creationId xmlns:a16="http://schemas.microsoft.com/office/drawing/2014/main" id="{404C70C1-8E78-2651-7D1A-BA7937AF41CD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DFB1A759-EC26-75FB-1AA8-B0AAE2AEC89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2B2C272F-7F63-4939-FCA4-72AA433109EE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DFAF9332-5281-1973-8B8D-76C9410538A5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7B881E07-2E57-D130-E038-27AA7DF590F4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00FDF6CE-B2D9-B098-D140-9DA188FD3AF2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61742BD8-1615-356C-D7D7-0325CE56A75B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C7EDDF74-14D1-D097-AFDE-F1BD6D72B44F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7594857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599220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D9796D79-440B-128D-189A-BDCEE7B59E9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49EF760E-F1F6-F530-8BCC-CAF9CBEAC2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5426556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F2A0D511-8C8C-E00F-5BEE-C61BD52EFE4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4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09121054-4F13-4231-4DD9-9F353CD1CD6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6E8B9F65-60D8-863D-5551-DC225CBE381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B76CE60C-FF00-C6BF-5D94-C7006A8DCB3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3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C296B649-5C4E-2F1D-BA1B-441B78D58C9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2AE8E2B8-89C7-1D71-DE4B-31E936ACF7D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440825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ensor Design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29774B18-A378-4E26-0C59-E7B50C6B87D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2</a:t>
            </a:r>
          </a:p>
        </p:txBody>
      </p:sp>
      <p:sp>
        <p:nvSpPr>
          <p:cNvPr id="85" name="矩形 84">
            <a:hlinkClick r:id="rId35" action="ppaction://hlinksldjump"/>
            <a:extLst>
              <a:ext uri="{FF2B5EF4-FFF2-40B4-BE49-F238E27FC236}">
                <a16:creationId xmlns:a16="http://schemas.microsoft.com/office/drawing/2014/main" id="{9F959CD0-726C-835C-92BD-B8DA74BF8B9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7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40CE7D82-18F2-6411-BB23-EB1CC17AC03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45A2A695-FBE5-4D73-B20D-7B391989F20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1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5E56AF1D-AC53-A2DA-3FB0-4FCD0BA010A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357211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DFCD8E44-092A-2A7D-ABDC-831315ED170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9375BC3A-F1B9-6E83-4180-A1F7D4CC50B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7816F464-4AAF-F27C-ECAD-DDF5A470B71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7F970A8F-7DDA-529E-005D-7CDB5605B4C9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93D43FB1-6F6F-8071-CFAA-CD098E43D96E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CD79DFCA-CF2D-CBA9-488E-BE2D71736DF0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1F44C793-0AB2-A24D-951A-D8F24D43582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E9BF220D-201C-E051-AB33-C4FC71345F0D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A3D671B1-03B6-F198-16E0-76D127F1C4D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745D0683-DD79-901D-0961-C04C9BEC1C96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08BDAF97-6775-8A02-A2FA-0F83E26A36EF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1A6132BC-DC78-259F-18D9-150C7C836D28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B7B1AAB5-5ECD-E1F8-97BF-EF97E53AF467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0DCE47F0-BF15-9AA4-8D96-E24952A9E51F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15029013-42CE-6DC8-04A8-7C45FD9FDC4B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67E0DDE2-8334-A732-FCD9-D170A955035D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75905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958910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0FB75FA9-578D-0748-AF1E-0F53B687F2D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F98AD314-E3C9-E77D-E32B-6CD6E80016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5426556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76056F39-49AC-30CC-D97E-D7CE8BC412F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4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41AFC839-F751-14C4-7772-E53016614A6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64E93E4B-9832-820D-F1C6-F5397DD7377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8F7DE4FA-D90F-5221-FEAF-E4FD4335AAD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3</a:t>
            </a:r>
          </a:p>
        </p:txBody>
      </p:sp>
      <p:sp>
        <p:nvSpPr>
          <p:cNvPr id="88" name="矩形 87">
            <a:hlinkClick r:id="rId34" action="ppaction://hlinksldjump"/>
            <a:extLst>
              <a:ext uri="{FF2B5EF4-FFF2-40B4-BE49-F238E27FC236}">
                <a16:creationId xmlns:a16="http://schemas.microsoft.com/office/drawing/2014/main" id="{D10AE199-CB53-6E19-1B7D-8B8FF0AAA03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9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C960747D-E969-60BE-748F-2BBCB7779A8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499335"/>
            <a:ext cx="440825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ensor Design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D6076544-BEA9-4D9A-AA10-CD721DB8211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2</a:t>
            </a: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90928BC1-3DC0-B86B-96EA-01000E1384A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41569" y="4035725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18C9355B-2891-BD8E-14C1-E8642BEA8E4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04486310-BDEC-2A4B-A5E2-ADD4AC17A188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ECDC86A8-15BF-5BC8-9E88-8B0B1F7D88D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1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0A197D61-C1D6-391D-C0A9-9648F1DD2BD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5DB62DDF-A3BC-C649-0F3A-B2EBE646F45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8F9990CC-6354-FBF0-7C31-45E1C5D0458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6C7DA6BA-064E-8FFB-F84E-DE2CB355F88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E178AE58-8D5B-E5D6-D295-B069FB951D24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6B6704CF-AC08-478E-6B52-4EC7FB0AEF1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EA90B202-D8D0-6BD1-15B9-528DA21AD290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E52BAD17-5BD1-3BD8-8B6B-C08107E4202E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08E48107-CDAB-6346-7AF5-CE1C82F27152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9AF24E43-5000-5466-DB87-39C82121594A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C9AA3504-76A2-0DB6-E975-B7F307E12E1E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95CDDBCA-0636-0AAA-C3C2-95E7B16192B1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83C9A66B-7430-5CF9-8F6F-73A2E8B3DFC2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7D8285F4-C256-70EA-AC49-68C4805386CD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964A242F-281D-849B-EA1D-2D0ED047D932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C0869AA2-F827-5B4A-2961-2ACFF1963183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232886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720141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609BCBE5-52FC-EF49-BEFE-04592D134A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94109695-A94C-9414-609E-E871D2CF59B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5426556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5DB1A5E6-2701-8B11-2FC4-7930D90D11F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4</a:t>
            </a:r>
          </a:p>
        </p:txBody>
      </p:sp>
      <p:sp>
        <p:nvSpPr>
          <p:cNvPr id="91" name="矩形 90">
            <a:hlinkClick r:id="rId33" action="ppaction://hlinksldjump"/>
            <a:extLst>
              <a:ext uri="{FF2B5EF4-FFF2-40B4-BE49-F238E27FC236}">
                <a16:creationId xmlns:a16="http://schemas.microsoft.com/office/drawing/2014/main" id="{FDB21D03-B98C-F678-885D-7CF96DD056B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1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17966A6B-CBBE-E91C-6CC9-237FCB2C7DD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962946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964519AC-925F-0D4D-3151-B5D0A64FD6F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3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E2C86620-28B9-A859-585E-3F62205CA36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441569" y="4499335"/>
            <a:ext cx="10233697" cy="400111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7BE6F464-EBCF-5F63-4846-6C428A5D47C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9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541BF350-4F20-ACD2-2364-8D6B2B72A5C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499335"/>
            <a:ext cx="440825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ensor Design</a:t>
            </a:r>
          </a:p>
        </p:txBody>
      </p:sp>
      <p:sp>
        <p:nvSpPr>
          <p:cNvPr id="85" name="矩形 84">
            <a:hlinkClick r:id="rId34" action="ppaction://hlinksldjump"/>
            <a:extLst>
              <a:ext uri="{FF2B5EF4-FFF2-40B4-BE49-F238E27FC236}">
                <a16:creationId xmlns:a16="http://schemas.microsoft.com/office/drawing/2014/main" id="{685371E3-A68D-2FB8-4F48-9181A9FD099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2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BA1D5963-13B0-A597-FB9E-17ED13AB1D2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0E3F611B-9FBA-C8AF-C09D-E20235E5AAE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E80FD2FC-27B0-A26A-A4F1-59D2A6E1BA0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1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A6FC0CB7-48EC-1178-64A9-FC4BEE4B69B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7F282923-EAAF-F057-1F50-549634E96F4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A1F0172C-3163-B6A8-A844-2B45BFB1AB4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B1E0DCCE-55C5-20B7-4D83-3685644FEB0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9DFDC917-50DE-B455-AF39-440D087482F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475E1237-23C8-A819-37E9-A2A3FAFFD58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49D89935-0A8A-91F4-C93D-33AD41B1696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C0FCE9C6-5B6F-594A-A19C-6C236C43F5B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C73F03AF-302B-D776-8750-4EEEE378BFC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6BC87ABC-37BA-1FEA-9B33-AEDEDEEC0E06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08848575-8119-95F3-6D55-668C9056800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93667355-6E11-8FF5-33F9-5B194EE637F0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C311D0FC-44AD-EB57-0269-0C3AA39BDAC9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F65B261B-F9C6-702B-B810-59B04068292C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F1C5CB25-3D82-5908-8771-A2193700877D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BF62F4CF-C0F4-04CD-468E-5647A2430CD9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00379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矩形 142">
            <a:hlinkClick r:id="rId30" action="ppaction://hlinksldjump"/>
            <a:extLst>
              <a:ext uri="{FF2B5EF4-FFF2-40B4-BE49-F238E27FC236}">
                <a16:creationId xmlns:a16="http://schemas.microsoft.com/office/drawing/2014/main" id="{78705B85-1130-80F1-6EED-37DC255BA13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5</a:t>
            </a:r>
          </a:p>
        </p:txBody>
      </p:sp>
      <p:sp>
        <p:nvSpPr>
          <p:cNvPr id="142" name="矩形 141">
            <a:hlinkClick r:id="rId30" action="ppaction://hlinksldjump"/>
            <a:extLst>
              <a:ext uri="{FF2B5EF4-FFF2-40B4-BE49-F238E27FC236}">
                <a16:creationId xmlns:a16="http://schemas.microsoft.com/office/drawing/2014/main" id="{915FE5A3-65FD-B146-C7A6-1EFC2DA131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&amp; Future Directions</a:t>
            </a:r>
          </a:p>
        </p:txBody>
      </p:sp>
      <p:sp>
        <p:nvSpPr>
          <p:cNvPr id="141" name="矩形 140">
            <a:hlinkClick r:id="rId30" action="ppaction://hlinksldjump"/>
            <a:extLst>
              <a:ext uri="{FF2B5EF4-FFF2-40B4-BE49-F238E27FC236}">
                <a16:creationId xmlns:a16="http://schemas.microsoft.com/office/drawing/2014/main" id="{B22CC9A3-E44B-32A3-FBB0-585CEA7B57B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40" name="矩形 139">
            <a:hlinkClick r:id="rId31" action="ppaction://hlinksldjump"/>
            <a:extLst>
              <a:ext uri="{FF2B5EF4-FFF2-40B4-BE49-F238E27FC236}">
                <a16:creationId xmlns:a16="http://schemas.microsoft.com/office/drawing/2014/main" id="{5EDA4635-DD02-0851-814E-B7E3702B242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9</a:t>
            </a:r>
          </a:p>
        </p:txBody>
      </p:sp>
      <p:sp>
        <p:nvSpPr>
          <p:cNvPr id="139" name="矩形 138">
            <a:hlinkClick r:id="rId31" action="ppaction://hlinksldjump"/>
            <a:extLst>
              <a:ext uri="{FF2B5EF4-FFF2-40B4-BE49-F238E27FC236}">
                <a16:creationId xmlns:a16="http://schemas.microsoft.com/office/drawing/2014/main" id="{A1AC8D9E-942F-C62A-9960-C8B8E330CB6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96395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138" name="矩形 137">
            <a:hlinkClick r:id="rId31" action="ppaction://hlinksldjump"/>
            <a:extLst>
              <a:ext uri="{FF2B5EF4-FFF2-40B4-BE49-F238E27FC236}">
                <a16:creationId xmlns:a16="http://schemas.microsoft.com/office/drawing/2014/main" id="{B2FA1FDE-1F7E-D8A2-49FE-EB0D3B03ABD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37" name="矩形 136">
            <a:hlinkClick r:id="rId32" action="ppaction://hlinksldjump"/>
            <a:extLst>
              <a:ext uri="{FF2B5EF4-FFF2-40B4-BE49-F238E27FC236}">
                <a16:creationId xmlns:a16="http://schemas.microsoft.com/office/drawing/2014/main" id="{6CB5016B-7777-7F9A-E956-36858E63D3B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5</a:t>
            </a:r>
          </a:p>
        </p:txBody>
      </p:sp>
      <p:sp>
        <p:nvSpPr>
          <p:cNvPr id="136" name="矩形 135">
            <a:hlinkClick r:id="rId32" action="ppaction://hlinksldjump"/>
            <a:extLst>
              <a:ext uri="{FF2B5EF4-FFF2-40B4-BE49-F238E27FC236}">
                <a16:creationId xmlns:a16="http://schemas.microsoft.com/office/drawing/2014/main" id="{6B638228-5B13-FD40-427A-26EBECEA7B5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135" name="矩形 134">
            <a:hlinkClick r:id="rId32" action="ppaction://hlinksldjump"/>
            <a:extLst>
              <a:ext uri="{FF2B5EF4-FFF2-40B4-BE49-F238E27FC236}">
                <a16:creationId xmlns:a16="http://schemas.microsoft.com/office/drawing/2014/main" id="{6012780E-9583-013C-EE15-4F0CD9CF6BE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4" name="矩形 133">
            <a:hlinkClick r:id="rId33" action="ppaction://hlinksldjump"/>
            <a:extLst>
              <a:ext uri="{FF2B5EF4-FFF2-40B4-BE49-F238E27FC236}">
                <a16:creationId xmlns:a16="http://schemas.microsoft.com/office/drawing/2014/main" id="{EB3B6C19-5FB8-BA79-3D4C-6666F719AD0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5</a:t>
            </a:r>
          </a:p>
        </p:txBody>
      </p:sp>
      <p:sp>
        <p:nvSpPr>
          <p:cNvPr id="133" name="矩形 132">
            <a:hlinkClick r:id="rId33" action="ppaction://hlinksldjump"/>
            <a:extLst>
              <a:ext uri="{FF2B5EF4-FFF2-40B4-BE49-F238E27FC236}">
                <a16:creationId xmlns:a16="http://schemas.microsoft.com/office/drawing/2014/main" id="{FC129005-8D7D-C3CB-6DF3-5792D0C2A07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357211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132" name="矩形 131">
            <a:hlinkClick r:id="rId33" action="ppaction://hlinksldjump"/>
            <a:extLst>
              <a:ext uri="{FF2B5EF4-FFF2-40B4-BE49-F238E27FC236}">
                <a16:creationId xmlns:a16="http://schemas.microsoft.com/office/drawing/2014/main" id="{DD04A351-8F91-C9F2-0659-9FAD711A8C6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31" name="矩形 130">
            <a:hlinkClick r:id="rId34" action="ppaction://hlinksldjump"/>
            <a:extLst>
              <a:ext uri="{FF2B5EF4-FFF2-40B4-BE49-F238E27FC236}">
                <a16:creationId xmlns:a16="http://schemas.microsoft.com/office/drawing/2014/main" id="{E5E89668-D7DE-5F13-572C-A0F8BD4017F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5</a:t>
            </a:r>
          </a:p>
        </p:txBody>
      </p:sp>
      <p:sp>
        <p:nvSpPr>
          <p:cNvPr id="130" name="矩形 129">
            <a:hlinkClick r:id="rId34" action="ppaction://hlinksldjump"/>
            <a:extLst>
              <a:ext uri="{FF2B5EF4-FFF2-40B4-BE49-F238E27FC236}">
                <a16:creationId xmlns:a16="http://schemas.microsoft.com/office/drawing/2014/main" id="{F6741EE3-C50E-9761-B36C-020126997C9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77959" y="310850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129" name="矩形 128">
            <a:hlinkClick r:id="rId34" action="ppaction://hlinksldjump"/>
            <a:extLst>
              <a:ext uri="{FF2B5EF4-FFF2-40B4-BE49-F238E27FC236}">
                <a16:creationId xmlns:a16="http://schemas.microsoft.com/office/drawing/2014/main" id="{AF3F9665-5C0B-4B73-4374-753926ADDA5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8" name="矩形 127">
            <a:hlinkClick r:id="rId35" action="ppaction://hlinksldjump"/>
            <a:extLst>
              <a:ext uri="{FF2B5EF4-FFF2-40B4-BE49-F238E27FC236}">
                <a16:creationId xmlns:a16="http://schemas.microsoft.com/office/drawing/2014/main" id="{5226573F-6004-CAA9-C381-37855A09A2D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127" name="矩形 126">
            <a:hlinkClick r:id="rId35" action="ppaction://hlinksldjump"/>
            <a:extLst>
              <a:ext uri="{FF2B5EF4-FFF2-40B4-BE49-F238E27FC236}">
                <a16:creationId xmlns:a16="http://schemas.microsoft.com/office/drawing/2014/main" id="{44EDCCF6-F4CD-7BAC-22F6-661ECE8D698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77959" y="264489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126" name="矩形 125">
            <a:hlinkClick r:id="rId35" action="ppaction://hlinksldjump"/>
            <a:extLst>
              <a:ext uri="{FF2B5EF4-FFF2-40B4-BE49-F238E27FC236}">
                <a16:creationId xmlns:a16="http://schemas.microsoft.com/office/drawing/2014/main" id="{4A64B8BB-49E0-9C0A-834D-69BD48CC10D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5" name="矩形 124">
            <a:extLst>
              <a:ext uri="{FF2B5EF4-FFF2-40B4-BE49-F238E27FC236}">
                <a16:creationId xmlns:a16="http://schemas.microsoft.com/office/drawing/2014/main" id="{2DE46A5D-C4AF-5689-348E-A006BB0BBC7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4" name="矩形 123">
            <a:hlinkClick r:id="rId36" action="ppaction://hlinksldjump"/>
            <a:extLst>
              <a:ext uri="{FF2B5EF4-FFF2-40B4-BE49-F238E27FC236}">
                <a16:creationId xmlns:a16="http://schemas.microsoft.com/office/drawing/2014/main" id="{289C1330-D504-A3FA-21C2-DF94FC7020C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123" name="矩形 122">
            <a:hlinkClick r:id="rId36" action="ppaction://hlinksldjump"/>
            <a:extLst>
              <a:ext uri="{FF2B5EF4-FFF2-40B4-BE49-F238E27FC236}">
                <a16:creationId xmlns:a16="http://schemas.microsoft.com/office/drawing/2014/main" id="{55F2765A-854A-F5B5-2D63-8BF20E88251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122" name="矩形 121">
            <a:hlinkClick r:id="rId36" action="ppaction://hlinksldjump"/>
            <a:extLst>
              <a:ext uri="{FF2B5EF4-FFF2-40B4-BE49-F238E27FC236}">
                <a16:creationId xmlns:a16="http://schemas.microsoft.com/office/drawing/2014/main" id="{B2C5B181-0669-728C-D42A-11382C8CD0BF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1" name="矩形 120">
            <a:hlinkClick r:id="rId37" action="ppaction://hlinksldjump"/>
            <a:extLst>
              <a:ext uri="{FF2B5EF4-FFF2-40B4-BE49-F238E27FC236}">
                <a16:creationId xmlns:a16="http://schemas.microsoft.com/office/drawing/2014/main" id="{C5CE34AE-0571-840E-AB37-AD5F757907D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20" name="矩形 119">
            <a:hlinkClick r:id="rId37" action="ppaction://hlinksldjump"/>
            <a:extLst>
              <a:ext uri="{FF2B5EF4-FFF2-40B4-BE49-F238E27FC236}">
                <a16:creationId xmlns:a16="http://schemas.microsoft.com/office/drawing/2014/main" id="{D7902E61-56B4-404F-76FE-87F9F7D0C16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119" name="矩形 118">
            <a:hlinkClick r:id="rId37" action="ppaction://hlinksldjump"/>
            <a:extLst>
              <a:ext uri="{FF2B5EF4-FFF2-40B4-BE49-F238E27FC236}">
                <a16:creationId xmlns:a16="http://schemas.microsoft.com/office/drawing/2014/main" id="{964C3BA1-F4B4-2369-0423-913428B492C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8" name="标题 117">
            <a:extLst>
              <a:ext uri="{FF2B5EF4-FFF2-40B4-BE49-F238E27FC236}">
                <a16:creationId xmlns:a16="http://schemas.microsoft.com/office/drawing/2014/main" id="{C01A5162-BC0A-7056-D0AA-10C05711F758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 vert="horz"/>
          <a:lstStyle/>
          <a:p>
            <a:r>
              <a:rPr lang="en-US"/>
              <a:t>Tools &amp; Tasks</a:t>
            </a:r>
          </a:p>
        </p:txBody>
      </p:sp>
      <p:graphicFrame>
        <p:nvGraphicFramePr>
          <p:cNvPr id="115" name="think-cell data - do not delete" hidden="1">
            <a:extLst>
              <a:ext uri="{FF2B5EF4-FFF2-40B4-BE49-F238E27FC236}">
                <a16:creationId xmlns:a16="http://schemas.microsoft.com/office/drawing/2014/main" id="{8300D38E-78CC-6AFB-4D51-7617471EBCF3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919651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473" imgH="476" progId="TCLayout.ActiveDocument.1">
                  <p:embed/>
                </p:oleObj>
              </mc:Choice>
              <mc:Fallback>
                <p:oleObj name="think-cell 幻灯片" r:id="rId38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8955443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489660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hlinkClick r:id="rId32" action="ppaction://hlinksldjump"/>
            <a:extLst>
              <a:ext uri="{FF2B5EF4-FFF2-40B4-BE49-F238E27FC236}">
                <a16:creationId xmlns:a16="http://schemas.microsoft.com/office/drawing/2014/main" id="{5D69C184-EAED-7748-8A55-B3F54C2A024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3</a:t>
            </a: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46AECC94-B665-D52F-57A3-BD2D8F14D7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41569" y="5426556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7B0E16C5-990E-35FE-F0EB-B235C9FFCE2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4</a:t>
            </a: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D5242BA3-F12D-1A72-41BC-462C87C45E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41569" y="4962946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0AFB0162-8B0B-17DE-BE2A-D9C96A0A5FB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1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69F68186-4DEF-9515-1CA2-0B8DB322938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41569" y="4962946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8" name="矩形 87">
            <a:hlinkClick r:id="rId33" action="ppaction://hlinksldjump"/>
            <a:extLst>
              <a:ext uri="{FF2B5EF4-FFF2-40B4-BE49-F238E27FC236}">
                <a16:creationId xmlns:a16="http://schemas.microsoft.com/office/drawing/2014/main" id="{7F5775B6-E5CD-3D24-13D9-302859152C9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3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149BD720-8787-DC3A-E41A-8BF6998AFAC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9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69C4EFBF-CBE3-6FE4-DA33-0F79860935E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499335"/>
            <a:ext cx="440825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ensor Design</a:t>
            </a:r>
          </a:p>
        </p:txBody>
      </p:sp>
      <p:sp>
        <p:nvSpPr>
          <p:cNvPr id="85" name="矩形 84">
            <a:hlinkClick r:id="rId34" action="ppaction://hlinksldjump"/>
            <a:extLst>
              <a:ext uri="{FF2B5EF4-FFF2-40B4-BE49-F238E27FC236}">
                <a16:creationId xmlns:a16="http://schemas.microsoft.com/office/drawing/2014/main" id="{7F497B8D-BD1F-69FE-A961-F63B93F7556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2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802B637A-0B0B-384D-0402-C805A208F27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FA653164-D8F7-2266-4B5D-EAC37A7E648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AAC85AB2-395E-DDAE-FA11-92345EE049C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1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7AFAEB72-C05D-EDE4-DEC2-70E1F5F49DD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0C0A9B38-9C18-1085-B39E-1BE5A29A302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F1A2D043-781C-0298-2425-96E1A1C09CF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72508690-26CF-BBA2-206C-0C57735AC44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290653ED-1F36-06C8-B0FF-9CFB47F310C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1793A0FD-C1F6-A578-4C8E-7889BC637B2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432274A5-693B-0E1A-9841-7E2FA487BAA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54015FE0-87C4-29E5-E612-71823D75698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07483329-1D04-D2ED-8E3C-61D340918FD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A6978E83-55DD-443A-6A3E-E85D5D33E52C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D60D3C31-02B6-5FF1-D8F0-FD2AC14804D1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63B5AB64-B352-9FBD-7BC8-03F491C8DAB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875F3CC8-423A-3BF7-DD54-5DDC2C0E621B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7714540A-40B1-4AD8-5578-29A0FF71BFCD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BFE9DF83-5886-1317-A499-E74DD415963F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F92B1A6B-BAA9-8522-3840-74812166A6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1164359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40364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>
            <a:extLst>
              <a:ext uri="{FF2B5EF4-FFF2-40B4-BE49-F238E27FC236}">
                <a16:creationId xmlns:a16="http://schemas.microsoft.com/office/drawing/2014/main" id="{1CB72E67-7386-5813-161B-055503A3B32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41569" y="5426556"/>
            <a:ext cx="1023369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3" name="矩形 92">
            <a:hlinkClick r:id="rId32" action="ppaction://hlinksldjump"/>
            <a:extLst>
              <a:ext uri="{FF2B5EF4-FFF2-40B4-BE49-F238E27FC236}">
                <a16:creationId xmlns:a16="http://schemas.microsoft.com/office/drawing/2014/main" id="{9EBDA061-0550-9D3C-CC80-7E5C557F4F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1664" y="542655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3</a:t>
            </a:r>
          </a:p>
        </p:txBody>
      </p:sp>
      <p:sp>
        <p:nvSpPr>
          <p:cNvPr id="92" name="矩形 91">
            <a:hlinkClick r:id="rId32" action="ppaction://hlinksldjump"/>
            <a:extLst>
              <a:ext uri="{FF2B5EF4-FFF2-40B4-BE49-F238E27FC236}">
                <a16:creationId xmlns:a16="http://schemas.microsoft.com/office/drawing/2014/main" id="{6251D346-D81A-14C7-D10F-BFC378E2314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41569" y="5426556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91" name="矩形 90">
            <a:hlinkClick r:id="rId32" action="ppaction://hlinksldjump"/>
            <a:extLst>
              <a:ext uri="{FF2B5EF4-FFF2-40B4-BE49-F238E27FC236}">
                <a16:creationId xmlns:a16="http://schemas.microsoft.com/office/drawing/2014/main" id="{C5753222-EEF8-B15A-6C29-071E3BC5FE5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542655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4</a:t>
            </a:r>
          </a:p>
        </p:txBody>
      </p:sp>
      <p:sp>
        <p:nvSpPr>
          <p:cNvPr id="90" name="矩形 89">
            <a:hlinkClick r:id="rId33" action="ppaction://hlinksldjump"/>
            <a:extLst>
              <a:ext uri="{FF2B5EF4-FFF2-40B4-BE49-F238E27FC236}">
                <a16:creationId xmlns:a16="http://schemas.microsoft.com/office/drawing/2014/main" id="{C4FEA2AA-FA1D-8F7F-B34D-3841F4222B5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1</a:t>
            </a:r>
          </a:p>
        </p:txBody>
      </p:sp>
      <p:sp>
        <p:nvSpPr>
          <p:cNvPr id="89" name="矩形 88">
            <a:hlinkClick r:id="rId33" action="ppaction://hlinksldjump"/>
            <a:extLst>
              <a:ext uri="{FF2B5EF4-FFF2-40B4-BE49-F238E27FC236}">
                <a16:creationId xmlns:a16="http://schemas.microsoft.com/office/drawing/2014/main" id="{0313842D-5ED0-9FBD-CD82-E88E7CA8F48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41569" y="4962946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88" name="矩形 87">
            <a:hlinkClick r:id="rId33" action="ppaction://hlinksldjump"/>
            <a:extLst>
              <a:ext uri="{FF2B5EF4-FFF2-40B4-BE49-F238E27FC236}">
                <a16:creationId xmlns:a16="http://schemas.microsoft.com/office/drawing/2014/main" id="{A28AA0C0-9F44-F468-0E7F-F91B51540A3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3</a:t>
            </a:r>
          </a:p>
        </p:txBody>
      </p:sp>
      <p:sp>
        <p:nvSpPr>
          <p:cNvPr id="87" name="矩形 86">
            <a:hlinkClick r:id="rId34" action="ppaction://hlinksldjump"/>
            <a:extLst>
              <a:ext uri="{FF2B5EF4-FFF2-40B4-BE49-F238E27FC236}">
                <a16:creationId xmlns:a16="http://schemas.microsoft.com/office/drawing/2014/main" id="{E5291AA7-D226-88C5-D39F-C9DEA0B768F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9</a:t>
            </a:r>
          </a:p>
        </p:txBody>
      </p:sp>
      <p:sp>
        <p:nvSpPr>
          <p:cNvPr id="86" name="矩形 85">
            <a:hlinkClick r:id="rId34" action="ppaction://hlinksldjump"/>
            <a:extLst>
              <a:ext uri="{FF2B5EF4-FFF2-40B4-BE49-F238E27FC236}">
                <a16:creationId xmlns:a16="http://schemas.microsoft.com/office/drawing/2014/main" id="{25484F31-F2D1-09F5-0F80-8736B2CAD6E0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441569" y="4499335"/>
            <a:ext cx="4408258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Sensor Design</a:t>
            </a:r>
          </a:p>
        </p:txBody>
      </p:sp>
      <p:sp>
        <p:nvSpPr>
          <p:cNvPr id="85" name="矩形 84">
            <a:hlinkClick r:id="rId34" action="ppaction://hlinksldjump"/>
            <a:extLst>
              <a:ext uri="{FF2B5EF4-FFF2-40B4-BE49-F238E27FC236}">
                <a16:creationId xmlns:a16="http://schemas.microsoft.com/office/drawing/2014/main" id="{B29B1E97-8DE8-D0F7-CF7A-8F073228080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2</a:t>
            </a:r>
          </a:p>
        </p:txBody>
      </p:sp>
      <p:sp>
        <p:nvSpPr>
          <p:cNvPr id="84" name="矩形 83">
            <a:hlinkClick r:id="rId35" action="ppaction://hlinksldjump"/>
            <a:extLst>
              <a:ext uri="{FF2B5EF4-FFF2-40B4-BE49-F238E27FC236}">
                <a16:creationId xmlns:a16="http://schemas.microsoft.com/office/drawing/2014/main" id="{D28BA24D-4259-D33F-D0F0-3C0FB5EB826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7</a:t>
            </a:r>
          </a:p>
        </p:txBody>
      </p:sp>
      <p:sp>
        <p:nvSpPr>
          <p:cNvPr id="83" name="矩形 82">
            <a:hlinkClick r:id="rId35" action="ppaction://hlinksldjump"/>
            <a:extLst>
              <a:ext uri="{FF2B5EF4-FFF2-40B4-BE49-F238E27FC236}">
                <a16:creationId xmlns:a16="http://schemas.microsoft.com/office/drawing/2014/main" id="{826052A9-AF06-3579-7C35-DFA7203C255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41569" y="4035725"/>
            <a:ext cx="440825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82" name="矩形 81">
            <a:hlinkClick r:id="rId35" action="ppaction://hlinksldjump"/>
            <a:extLst>
              <a:ext uri="{FF2B5EF4-FFF2-40B4-BE49-F238E27FC236}">
                <a16:creationId xmlns:a16="http://schemas.microsoft.com/office/drawing/2014/main" id="{3B904FEF-68FB-040B-0139-18FA9E72C62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.1</a:t>
            </a:r>
          </a:p>
        </p:txBody>
      </p:sp>
      <p:sp>
        <p:nvSpPr>
          <p:cNvPr id="81" name="矩形 80">
            <a:hlinkClick r:id="rId36" action="ppaction://hlinksldjump"/>
            <a:extLst>
              <a:ext uri="{FF2B5EF4-FFF2-40B4-BE49-F238E27FC236}">
                <a16:creationId xmlns:a16="http://schemas.microsoft.com/office/drawing/2014/main" id="{1EE2522C-BF48-9A7A-9058-66D6D63918E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80" name="矩形 79">
            <a:hlinkClick r:id="rId36" action="ppaction://hlinksldjump"/>
            <a:extLst>
              <a:ext uri="{FF2B5EF4-FFF2-40B4-BE49-F238E27FC236}">
                <a16:creationId xmlns:a16="http://schemas.microsoft.com/office/drawing/2014/main" id="{1605DB94-2ED4-FB05-C599-DB33B997C6A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57211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Non-Visual Perception: Tactile</a:t>
            </a:r>
          </a:p>
        </p:txBody>
      </p:sp>
      <p:sp>
        <p:nvSpPr>
          <p:cNvPr id="79" name="矩形 78">
            <a:hlinkClick r:id="rId36" action="ppaction://hlinksldjump"/>
            <a:extLst>
              <a:ext uri="{FF2B5EF4-FFF2-40B4-BE49-F238E27FC236}">
                <a16:creationId xmlns:a16="http://schemas.microsoft.com/office/drawing/2014/main" id="{D01A9CB9-C6EB-213A-310D-0A4F4CBDB56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8" name="矩形 77">
            <a:hlinkClick r:id="rId37" action="ppaction://hlinksldjump"/>
            <a:extLst>
              <a:ext uri="{FF2B5EF4-FFF2-40B4-BE49-F238E27FC236}">
                <a16:creationId xmlns:a16="http://schemas.microsoft.com/office/drawing/2014/main" id="{C16ED4A2-2C4D-C118-1739-D79F1EA16429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77</a:t>
            </a:r>
          </a:p>
        </p:txBody>
      </p:sp>
      <p:sp>
        <p:nvSpPr>
          <p:cNvPr id="77" name="矩形 76">
            <a:hlinkClick r:id="rId37" action="ppaction://hlinksldjump"/>
            <a:extLst>
              <a:ext uri="{FF2B5EF4-FFF2-40B4-BE49-F238E27FC236}">
                <a16:creationId xmlns:a16="http://schemas.microsoft.com/office/drawing/2014/main" id="{24DCC503-508E-216D-5B49-2DC1DCB8E22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310850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Visual Language Navigation</a:t>
            </a:r>
          </a:p>
        </p:txBody>
      </p:sp>
      <p:sp>
        <p:nvSpPr>
          <p:cNvPr id="76" name="矩形 75">
            <a:hlinkClick r:id="rId37" action="ppaction://hlinksldjump"/>
            <a:extLst>
              <a:ext uri="{FF2B5EF4-FFF2-40B4-BE49-F238E27FC236}">
                <a16:creationId xmlns:a16="http://schemas.microsoft.com/office/drawing/2014/main" id="{3F6D0A6B-4162-90C8-AA1B-991C701F8A3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5" name="矩形 74">
            <a:hlinkClick r:id="rId38" action="ppaction://hlinksldjump"/>
            <a:extLst>
              <a:ext uri="{FF2B5EF4-FFF2-40B4-BE49-F238E27FC236}">
                <a16:creationId xmlns:a16="http://schemas.microsoft.com/office/drawing/2014/main" id="{F7193FFD-365A-960C-BDCF-2EE122382BF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74" name="矩形 73">
            <a:hlinkClick r:id="rId38" action="ppaction://hlinksldjump"/>
            <a:extLst>
              <a:ext uri="{FF2B5EF4-FFF2-40B4-BE49-F238E27FC236}">
                <a16:creationId xmlns:a16="http://schemas.microsoft.com/office/drawing/2014/main" id="{11DC188B-A4FC-400B-2178-F2AA47A1DC9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64489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3D Visual Grounding</a:t>
            </a:r>
          </a:p>
        </p:txBody>
      </p:sp>
      <p:sp>
        <p:nvSpPr>
          <p:cNvPr id="73" name="矩形 72">
            <a:hlinkClick r:id="rId38" action="ppaction://hlinksldjump"/>
            <a:extLst>
              <a:ext uri="{FF2B5EF4-FFF2-40B4-BE49-F238E27FC236}">
                <a16:creationId xmlns:a16="http://schemas.microsoft.com/office/drawing/2014/main" id="{B03A987B-45AF-DBA1-DD5E-15A09A910801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2" name="矩形 71">
            <a:hlinkClick r:id="rId39" action="ppaction://hlinksldjump"/>
            <a:extLst>
              <a:ext uri="{FF2B5EF4-FFF2-40B4-BE49-F238E27FC236}">
                <a16:creationId xmlns:a16="http://schemas.microsoft.com/office/drawing/2014/main" id="{000DF245-C072-10A4-4F74-C4CD0D26A5BC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71" name="矩形 70">
            <a:hlinkClick r:id="rId39" action="ppaction://hlinksldjump"/>
            <a:extLst>
              <a:ext uri="{FF2B5EF4-FFF2-40B4-BE49-F238E27FC236}">
                <a16:creationId xmlns:a16="http://schemas.microsoft.com/office/drawing/2014/main" id="{90F8C337-6A1F-064D-A46F-ABC5BAB02C84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218128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ctive Visual Perception</a:t>
            </a:r>
          </a:p>
        </p:txBody>
      </p:sp>
      <p:sp>
        <p:nvSpPr>
          <p:cNvPr id="70" name="矩形 69">
            <a:hlinkClick r:id="rId39" action="ppaction://hlinksldjump"/>
            <a:extLst>
              <a:ext uri="{FF2B5EF4-FFF2-40B4-BE49-F238E27FC236}">
                <a16:creationId xmlns:a16="http://schemas.microsoft.com/office/drawing/2014/main" id="{A3C4B036-7E18-0BE6-E894-D90CFAA7968B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矩形 68">
            <a:hlinkClick r:id="rId40" action="ppaction://hlinksldjump"/>
            <a:extLst>
              <a:ext uri="{FF2B5EF4-FFF2-40B4-BE49-F238E27FC236}">
                <a16:creationId xmlns:a16="http://schemas.microsoft.com/office/drawing/2014/main" id="{B476A206-5E0C-74EF-BAFD-D69079031C97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7</a:t>
            </a:r>
          </a:p>
        </p:txBody>
      </p:sp>
      <p:sp>
        <p:nvSpPr>
          <p:cNvPr id="68" name="矩形 67">
            <a:hlinkClick r:id="rId40" action="ppaction://hlinksldjump"/>
            <a:extLst>
              <a:ext uri="{FF2B5EF4-FFF2-40B4-BE49-F238E27FC236}">
                <a16:creationId xmlns:a16="http://schemas.microsoft.com/office/drawing/2014/main" id="{85729EDB-B9C5-46DB-F06C-E9B7E059C94A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77959" y="1717675"/>
            <a:ext cx="487186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7" name="矩形 66">
            <a:hlinkClick r:id="rId40" action="ppaction://hlinksldjump"/>
            <a:extLst>
              <a:ext uri="{FF2B5EF4-FFF2-40B4-BE49-F238E27FC236}">
                <a16:creationId xmlns:a16="http://schemas.microsoft.com/office/drawing/2014/main" id="{329B7209-FB49-F435-C2DE-8987B1BF59F5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标题 65">
            <a:extLst>
              <a:ext uri="{FF2B5EF4-FFF2-40B4-BE49-F238E27FC236}">
                <a16:creationId xmlns:a16="http://schemas.microsoft.com/office/drawing/2014/main" id="{11FFB427-1705-03BF-1622-39B3BE2EB892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/>
        <p:txBody>
          <a:bodyPr/>
          <a:lstStyle/>
          <a:p>
            <a:r>
              <a:rPr lang="en-US"/>
              <a:t>Ways of Per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5623906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758772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矩形 140">
            <a:hlinkClick r:id="rId29" action="ppaction://hlinksldjump"/>
            <a:extLst>
              <a:ext uri="{FF2B5EF4-FFF2-40B4-BE49-F238E27FC236}">
                <a16:creationId xmlns:a16="http://schemas.microsoft.com/office/drawing/2014/main" id="{B14C5147-D4E1-1950-E10E-095C662AD20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85</a:t>
            </a:r>
          </a:p>
        </p:txBody>
      </p:sp>
      <p:sp>
        <p:nvSpPr>
          <p:cNvPr id="140" name="矩形 139">
            <a:hlinkClick r:id="rId29" action="ppaction://hlinksldjump"/>
            <a:extLst>
              <a:ext uri="{FF2B5EF4-FFF2-40B4-BE49-F238E27FC236}">
                <a16:creationId xmlns:a16="http://schemas.microsoft.com/office/drawing/2014/main" id="{DC6FBE32-8074-3B5B-D42B-3A67D9EA74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hallenges &amp; Future Directions</a:t>
            </a:r>
          </a:p>
        </p:txBody>
      </p:sp>
      <p:sp>
        <p:nvSpPr>
          <p:cNvPr id="139" name="矩形 138">
            <a:hlinkClick r:id="rId29" action="ppaction://hlinksldjump"/>
            <a:extLst>
              <a:ext uri="{FF2B5EF4-FFF2-40B4-BE49-F238E27FC236}">
                <a16:creationId xmlns:a16="http://schemas.microsoft.com/office/drawing/2014/main" id="{C2DC3E8A-21E4-E8AB-E060-B1536D216E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38" name="矩形 137">
            <a:hlinkClick r:id="rId30" action="ppaction://hlinksldjump"/>
            <a:extLst>
              <a:ext uri="{FF2B5EF4-FFF2-40B4-BE49-F238E27FC236}">
                <a16:creationId xmlns:a16="http://schemas.microsoft.com/office/drawing/2014/main" id="{9234421A-BE22-02D3-4FB6-06CA205E3F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49</a:t>
            </a:r>
          </a:p>
        </p:txBody>
      </p:sp>
      <p:sp>
        <p:nvSpPr>
          <p:cNvPr id="137" name="矩形 136">
            <a:hlinkClick r:id="rId30" action="ppaction://hlinksldjump"/>
            <a:extLst>
              <a:ext uri="{FF2B5EF4-FFF2-40B4-BE49-F238E27FC236}">
                <a16:creationId xmlns:a16="http://schemas.microsoft.com/office/drawing/2014/main" id="{F5A1FF47-0FF0-BBD1-67C6-3C036CCF67B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4499335"/>
            <a:ext cx="2963953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4 Sim2Real Adaptation</a:t>
            </a:r>
          </a:p>
        </p:txBody>
      </p:sp>
      <p:sp>
        <p:nvSpPr>
          <p:cNvPr id="136" name="矩形 135">
            <a:hlinkClick r:id="rId30" action="ppaction://hlinksldjump"/>
            <a:extLst>
              <a:ext uri="{FF2B5EF4-FFF2-40B4-BE49-F238E27FC236}">
                <a16:creationId xmlns:a16="http://schemas.microsoft.com/office/drawing/2014/main" id="{699051BC-8D09-E6EC-C815-10F07FF60D4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35" name="矩形 134">
            <a:hlinkClick r:id="rId31" action="ppaction://hlinksldjump"/>
            <a:extLst>
              <a:ext uri="{FF2B5EF4-FFF2-40B4-BE49-F238E27FC236}">
                <a16:creationId xmlns:a16="http://schemas.microsoft.com/office/drawing/2014/main" id="{CDEAD589-44B0-058F-EBF4-7A817826712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25</a:t>
            </a:r>
          </a:p>
        </p:txBody>
      </p:sp>
      <p:sp>
        <p:nvSpPr>
          <p:cNvPr id="134" name="矩形 133">
            <a:hlinkClick r:id="rId31" action="ppaction://hlinksldjump"/>
            <a:extLst>
              <a:ext uri="{FF2B5EF4-FFF2-40B4-BE49-F238E27FC236}">
                <a16:creationId xmlns:a16="http://schemas.microsoft.com/office/drawing/2014/main" id="{1277665C-9563-0041-E2EE-7FD5D313D01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403572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3 Embodied Agent</a:t>
            </a:r>
          </a:p>
        </p:txBody>
      </p:sp>
      <p:sp>
        <p:nvSpPr>
          <p:cNvPr id="133" name="矩形 132">
            <a:hlinkClick r:id="rId31" action="ppaction://hlinksldjump"/>
            <a:extLst>
              <a:ext uri="{FF2B5EF4-FFF2-40B4-BE49-F238E27FC236}">
                <a16:creationId xmlns:a16="http://schemas.microsoft.com/office/drawing/2014/main" id="{B65B8358-1982-11BC-2953-A47B6539D5D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2" name="矩形 131">
            <a:extLst>
              <a:ext uri="{FF2B5EF4-FFF2-40B4-BE49-F238E27FC236}">
                <a16:creationId xmlns:a16="http://schemas.microsoft.com/office/drawing/2014/main" id="{125AD01A-41A2-7AC9-7FA9-C91321EF920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357211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31" name="矩形 130">
            <a:hlinkClick r:id="rId32" action="ppaction://hlinksldjump"/>
            <a:extLst>
              <a:ext uri="{FF2B5EF4-FFF2-40B4-BE49-F238E27FC236}">
                <a16:creationId xmlns:a16="http://schemas.microsoft.com/office/drawing/2014/main" id="{0983856D-FA00-AE13-4DE3-583A5F08157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5</a:t>
            </a:r>
          </a:p>
        </p:txBody>
      </p:sp>
      <p:sp>
        <p:nvSpPr>
          <p:cNvPr id="130" name="矩形 129">
            <a:hlinkClick r:id="rId32" action="ppaction://hlinksldjump"/>
            <a:extLst>
              <a:ext uri="{FF2B5EF4-FFF2-40B4-BE49-F238E27FC236}">
                <a16:creationId xmlns:a16="http://schemas.microsoft.com/office/drawing/2014/main" id="{40C0F32E-F38B-4C9D-D869-7E49371049A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2 Embodied Interaction</a:t>
            </a:r>
          </a:p>
        </p:txBody>
      </p:sp>
      <p:sp>
        <p:nvSpPr>
          <p:cNvPr id="129" name="矩形 128">
            <a:hlinkClick r:id="rId32" action="ppaction://hlinksldjump"/>
            <a:extLst>
              <a:ext uri="{FF2B5EF4-FFF2-40B4-BE49-F238E27FC236}">
                <a16:creationId xmlns:a16="http://schemas.microsoft.com/office/drawing/2014/main" id="{04BFE03C-5870-CEBB-A095-F94B7FBF82F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8" name="矩形 127">
            <a:hlinkClick r:id="rId33" action="ppaction://hlinksldjump"/>
            <a:extLst>
              <a:ext uri="{FF2B5EF4-FFF2-40B4-BE49-F238E27FC236}">
                <a16:creationId xmlns:a16="http://schemas.microsoft.com/office/drawing/2014/main" id="{56814500-7E60-E124-A3CD-76988A6568D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5</a:t>
            </a:r>
          </a:p>
        </p:txBody>
      </p:sp>
      <p:sp>
        <p:nvSpPr>
          <p:cNvPr id="127" name="矩形 126">
            <a:hlinkClick r:id="rId33" action="ppaction://hlinksldjump"/>
            <a:extLst>
              <a:ext uri="{FF2B5EF4-FFF2-40B4-BE49-F238E27FC236}">
                <a16:creationId xmlns:a16="http://schemas.microsoft.com/office/drawing/2014/main" id="{D32E4F13-ABB4-4C96-900E-39D8DF7D38B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ask1 Embodied Perception</a:t>
            </a:r>
          </a:p>
        </p:txBody>
      </p:sp>
      <p:sp>
        <p:nvSpPr>
          <p:cNvPr id="126" name="矩形 125">
            <a:hlinkClick r:id="rId33" action="ppaction://hlinksldjump"/>
            <a:extLst>
              <a:ext uri="{FF2B5EF4-FFF2-40B4-BE49-F238E27FC236}">
                <a16:creationId xmlns:a16="http://schemas.microsoft.com/office/drawing/2014/main" id="{290102C6-3351-1492-862E-E8FEB78E9BA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5" name="矩形 124">
            <a:hlinkClick r:id="rId34" action="ppaction://hlinksldjump"/>
            <a:extLst>
              <a:ext uri="{FF2B5EF4-FFF2-40B4-BE49-F238E27FC236}">
                <a16:creationId xmlns:a16="http://schemas.microsoft.com/office/drawing/2014/main" id="{79AE9D52-E081-EEB5-7D61-A48B749C4B1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25</a:t>
            </a:r>
          </a:p>
        </p:txBody>
      </p:sp>
      <p:sp>
        <p:nvSpPr>
          <p:cNvPr id="124" name="矩形 123">
            <a:hlinkClick r:id="rId34" action="ppaction://hlinksldjump"/>
            <a:extLst>
              <a:ext uri="{FF2B5EF4-FFF2-40B4-BE49-F238E27FC236}">
                <a16:creationId xmlns:a16="http://schemas.microsoft.com/office/drawing/2014/main" id="{23A024DC-E57E-0F61-8BD6-EB200CADF17A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2 Embodied Simulators</a:t>
            </a:r>
          </a:p>
        </p:txBody>
      </p:sp>
      <p:sp>
        <p:nvSpPr>
          <p:cNvPr id="123" name="矩形 122">
            <a:hlinkClick r:id="rId34" action="ppaction://hlinksldjump"/>
            <a:extLst>
              <a:ext uri="{FF2B5EF4-FFF2-40B4-BE49-F238E27FC236}">
                <a16:creationId xmlns:a16="http://schemas.microsoft.com/office/drawing/2014/main" id="{3C5A1385-5B43-0876-F795-3E6B64661288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2" name="矩形 121">
            <a:hlinkClick r:id="rId35" action="ppaction://hlinksldjump"/>
            <a:extLst>
              <a:ext uri="{FF2B5EF4-FFF2-40B4-BE49-F238E27FC236}">
                <a16:creationId xmlns:a16="http://schemas.microsoft.com/office/drawing/2014/main" id="{AC487AF3-27FA-BB63-C1C3-35ABF9C956A0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121" name="矩形 120">
            <a:hlinkClick r:id="rId35" action="ppaction://hlinksldjump"/>
            <a:extLst>
              <a:ext uri="{FF2B5EF4-FFF2-40B4-BE49-F238E27FC236}">
                <a16:creationId xmlns:a16="http://schemas.microsoft.com/office/drawing/2014/main" id="{53124275-1316-BF8F-40CA-873406EE5FB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ool1 Embodied Robots</a:t>
            </a:r>
          </a:p>
        </p:txBody>
      </p:sp>
      <p:sp>
        <p:nvSpPr>
          <p:cNvPr id="120" name="矩形 119">
            <a:hlinkClick r:id="rId35" action="ppaction://hlinksldjump"/>
            <a:extLst>
              <a:ext uri="{FF2B5EF4-FFF2-40B4-BE49-F238E27FC236}">
                <a16:creationId xmlns:a16="http://schemas.microsoft.com/office/drawing/2014/main" id="{9C74CBCE-DE8B-52E9-07D0-242E6DD9C03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9" name="矩形 118">
            <a:hlinkClick r:id="rId36" action="ppaction://hlinksldjump"/>
            <a:extLst>
              <a:ext uri="{FF2B5EF4-FFF2-40B4-BE49-F238E27FC236}">
                <a16:creationId xmlns:a16="http://schemas.microsoft.com/office/drawing/2014/main" id="{1D51C1C0-DC36-5EC9-9FBF-E5FD838D57B7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18" name="矩形 117">
            <a:hlinkClick r:id="rId36" action="ppaction://hlinksldjump"/>
            <a:extLst>
              <a:ext uri="{FF2B5EF4-FFF2-40B4-BE49-F238E27FC236}">
                <a16:creationId xmlns:a16="http://schemas.microsoft.com/office/drawing/2014/main" id="{5EED7654-EB69-8A03-240E-B951CE4DDF6E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2963953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117" name="矩形 116">
            <a:hlinkClick r:id="rId36" action="ppaction://hlinksldjump"/>
            <a:extLst>
              <a:ext uri="{FF2B5EF4-FFF2-40B4-BE49-F238E27FC236}">
                <a16:creationId xmlns:a16="http://schemas.microsoft.com/office/drawing/2014/main" id="{DE4CC676-3523-7950-047F-69189241AD57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6" name="标题 115">
            <a:extLst>
              <a:ext uri="{FF2B5EF4-FFF2-40B4-BE49-F238E27FC236}">
                <a16:creationId xmlns:a16="http://schemas.microsoft.com/office/drawing/2014/main" id="{B0FC6D3A-5C6A-61FD-AE1C-6B8337822829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Tools &amp; Task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049241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926557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矩形 39">
            <a:hlinkClick r:id="rId14" action="ppaction://hlinksldjump"/>
            <a:extLst>
              <a:ext uri="{FF2B5EF4-FFF2-40B4-BE49-F238E27FC236}">
                <a16:creationId xmlns:a16="http://schemas.microsoft.com/office/drawing/2014/main" id="{98F17DA9-DDDF-CFAF-0C69-0D414C33C65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39" name="矩形 38">
            <a:hlinkClick r:id="rId14" action="ppaction://hlinksldjump"/>
            <a:extLst>
              <a:ext uri="{FF2B5EF4-FFF2-40B4-BE49-F238E27FC236}">
                <a16:creationId xmlns:a16="http://schemas.microsoft.com/office/drawing/2014/main" id="{DDF61771-7815-3361-F6A5-62FA49AEBB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264489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38" name="矩形 37">
            <a:hlinkClick r:id="rId14" action="ppaction://hlinksldjump"/>
            <a:extLst>
              <a:ext uri="{FF2B5EF4-FFF2-40B4-BE49-F238E27FC236}">
                <a16:creationId xmlns:a16="http://schemas.microsoft.com/office/drawing/2014/main" id="{1950AFC3-EC1C-C992-DC11-175C995BBC2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7" name="矩形 36">
            <a:hlinkClick r:id="rId15" action="ppaction://hlinksldjump"/>
            <a:extLst>
              <a:ext uri="{FF2B5EF4-FFF2-40B4-BE49-F238E27FC236}">
                <a16:creationId xmlns:a16="http://schemas.microsoft.com/office/drawing/2014/main" id="{152EBCD7-D342-4148-E479-AC0FE5FA8B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36" name="矩形 35">
            <a:hlinkClick r:id="rId15" action="ppaction://hlinksldjump"/>
            <a:extLst>
              <a:ext uri="{FF2B5EF4-FFF2-40B4-BE49-F238E27FC236}">
                <a16:creationId xmlns:a16="http://schemas.microsoft.com/office/drawing/2014/main" id="{A31FF530-43CE-1317-37E3-63A0C81925A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35" name="矩形 34">
            <a:hlinkClick r:id="rId15" action="ppaction://hlinksldjump"/>
            <a:extLst>
              <a:ext uri="{FF2B5EF4-FFF2-40B4-BE49-F238E27FC236}">
                <a16:creationId xmlns:a16="http://schemas.microsoft.com/office/drawing/2014/main" id="{57CF9821-19BD-52B2-37C0-7B32F8F6ACD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138D0B51-4F75-60E1-E7C9-BB847997D1B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3" name="矩形 32">
            <a:hlinkClick r:id="rId16" action="ppaction://hlinksldjump"/>
            <a:extLst>
              <a:ext uri="{FF2B5EF4-FFF2-40B4-BE49-F238E27FC236}">
                <a16:creationId xmlns:a16="http://schemas.microsoft.com/office/drawing/2014/main" id="{C4451128-5C58-82C8-57BF-8580C7FF670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32" name="矩形 31">
            <a:hlinkClick r:id="rId16" action="ppaction://hlinksldjump"/>
            <a:extLst>
              <a:ext uri="{FF2B5EF4-FFF2-40B4-BE49-F238E27FC236}">
                <a16:creationId xmlns:a16="http://schemas.microsoft.com/office/drawing/2014/main" id="{21F90071-5DDF-9242-DEDF-64D686A64F2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31" name="矩形 30">
            <a:hlinkClick r:id="rId16" action="ppaction://hlinksldjump"/>
            <a:extLst>
              <a:ext uri="{FF2B5EF4-FFF2-40B4-BE49-F238E27FC236}">
                <a16:creationId xmlns:a16="http://schemas.microsoft.com/office/drawing/2014/main" id="{A8929650-8249-575B-DDC7-85FB73F1DC6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标题 29">
            <a:extLst>
              <a:ext uri="{FF2B5EF4-FFF2-40B4-BE49-F238E27FC236}">
                <a16:creationId xmlns:a16="http://schemas.microsoft.com/office/drawing/2014/main" id="{038C5C2F-E983-959F-DC48-0223C988669A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1670176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49730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矩形 84">
            <a:hlinkClick r:id="rId29" action="ppaction://hlinksldjump"/>
            <a:extLst>
              <a:ext uri="{FF2B5EF4-FFF2-40B4-BE49-F238E27FC236}">
                <a16:creationId xmlns:a16="http://schemas.microsoft.com/office/drawing/2014/main" id="{EA1E2184-8AD6-3D5D-FB6A-D41EF23C61A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1664" y="4962946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11</a:t>
            </a:r>
          </a:p>
        </p:txBody>
      </p:sp>
      <p:sp>
        <p:nvSpPr>
          <p:cNvPr id="84" name="矩形 83">
            <a:hlinkClick r:id="rId29" action="ppaction://hlinksldjump"/>
            <a:extLst>
              <a:ext uri="{FF2B5EF4-FFF2-40B4-BE49-F238E27FC236}">
                <a16:creationId xmlns:a16="http://schemas.microsoft.com/office/drawing/2014/main" id="{CC772CAA-9D55-7EB3-2261-A12B429DA2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4962946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Grasping</a:t>
            </a:r>
          </a:p>
        </p:txBody>
      </p:sp>
      <p:sp>
        <p:nvSpPr>
          <p:cNvPr id="83" name="矩形 82">
            <a:hlinkClick r:id="rId29" action="ppaction://hlinksldjump"/>
            <a:extLst>
              <a:ext uri="{FF2B5EF4-FFF2-40B4-BE49-F238E27FC236}">
                <a16:creationId xmlns:a16="http://schemas.microsoft.com/office/drawing/2014/main" id="{8E370096-ACBC-76FD-B229-FABD880B27D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496294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2" name="矩形 81">
            <a:hlinkClick r:id="rId30" action="ppaction://hlinksldjump"/>
            <a:extLst>
              <a:ext uri="{FF2B5EF4-FFF2-40B4-BE49-F238E27FC236}">
                <a16:creationId xmlns:a16="http://schemas.microsoft.com/office/drawing/2014/main" id="{0A5232C3-CE54-213F-A617-B46228FBECA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491664" y="4499335"/>
            <a:ext cx="107402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9</a:t>
            </a:r>
          </a:p>
        </p:txBody>
      </p:sp>
      <p:sp>
        <p:nvSpPr>
          <p:cNvPr id="81" name="矩形 80">
            <a:hlinkClick r:id="rId30" action="ppaction://hlinksldjump"/>
            <a:extLst>
              <a:ext uri="{FF2B5EF4-FFF2-40B4-BE49-F238E27FC236}">
                <a16:creationId xmlns:a16="http://schemas.microsoft.com/office/drawing/2014/main" id="{95C98AE2-B7BA-A0B5-F454-905DB481D69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41569" y="4499335"/>
            <a:ext cx="2954335" cy="400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Limitations</a:t>
            </a:r>
          </a:p>
        </p:txBody>
      </p:sp>
      <p:sp>
        <p:nvSpPr>
          <p:cNvPr id="80" name="矩形 79">
            <a:hlinkClick r:id="rId30" action="ppaction://hlinksldjump"/>
            <a:extLst>
              <a:ext uri="{FF2B5EF4-FFF2-40B4-BE49-F238E27FC236}">
                <a16:creationId xmlns:a16="http://schemas.microsoft.com/office/drawing/2014/main" id="{CBE75868-A277-E274-6E2A-EE0ADF2CC56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4499335"/>
            <a:ext cx="400110" cy="40011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5</a:t>
            </a:r>
          </a:p>
        </p:txBody>
      </p:sp>
      <p:sp>
        <p:nvSpPr>
          <p:cNvPr id="79" name="矩形 78">
            <a:hlinkClick r:id="rId31" action="ppaction://hlinksldjump"/>
            <a:extLst>
              <a:ext uri="{FF2B5EF4-FFF2-40B4-BE49-F238E27FC236}">
                <a16:creationId xmlns:a16="http://schemas.microsoft.com/office/drawing/2014/main" id="{36965549-FE05-ABE4-86EC-6F8D8098E72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491664" y="403572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7</a:t>
            </a:r>
          </a:p>
        </p:txBody>
      </p:sp>
      <p:sp>
        <p:nvSpPr>
          <p:cNvPr id="78" name="矩形 77">
            <a:hlinkClick r:id="rId31" action="ppaction://hlinksldjump"/>
            <a:extLst>
              <a:ext uri="{FF2B5EF4-FFF2-40B4-BE49-F238E27FC236}">
                <a16:creationId xmlns:a16="http://schemas.microsoft.com/office/drawing/2014/main" id="{102A9FA7-341B-8071-047C-76844184EAF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441569" y="403572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rics</a:t>
            </a:r>
          </a:p>
        </p:txBody>
      </p:sp>
      <p:sp>
        <p:nvSpPr>
          <p:cNvPr id="77" name="矩形 76">
            <a:hlinkClick r:id="rId31" action="ppaction://hlinksldjump"/>
            <a:extLst>
              <a:ext uri="{FF2B5EF4-FFF2-40B4-BE49-F238E27FC236}">
                <a16:creationId xmlns:a16="http://schemas.microsoft.com/office/drawing/2014/main" id="{541B0CA3-CB61-5F38-F81B-C9DAA8862C6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403572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4</a:t>
            </a:r>
          </a:p>
        </p:txBody>
      </p:sp>
      <p:sp>
        <p:nvSpPr>
          <p:cNvPr id="76" name="矩形 75">
            <a:hlinkClick r:id="rId32" action="ppaction://hlinksldjump"/>
            <a:extLst>
              <a:ext uri="{FF2B5EF4-FFF2-40B4-BE49-F238E27FC236}">
                <a16:creationId xmlns:a16="http://schemas.microsoft.com/office/drawing/2014/main" id="{7193A26A-CF48-2312-1F4B-E57EFCF963C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491664" y="357211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5</a:t>
            </a:r>
          </a:p>
        </p:txBody>
      </p:sp>
      <p:sp>
        <p:nvSpPr>
          <p:cNvPr id="75" name="矩形 74">
            <a:hlinkClick r:id="rId32" action="ppaction://hlinksldjump"/>
            <a:extLst>
              <a:ext uri="{FF2B5EF4-FFF2-40B4-BE49-F238E27FC236}">
                <a16:creationId xmlns:a16="http://schemas.microsoft.com/office/drawing/2014/main" id="{450B9BC8-E75A-E898-41A3-35A756B3A14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41569" y="357211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ethods</a:t>
            </a:r>
          </a:p>
        </p:txBody>
      </p:sp>
      <p:sp>
        <p:nvSpPr>
          <p:cNvPr id="74" name="矩形 73">
            <a:hlinkClick r:id="rId32" action="ppaction://hlinksldjump"/>
            <a:extLst>
              <a:ext uri="{FF2B5EF4-FFF2-40B4-BE49-F238E27FC236}">
                <a16:creationId xmlns:a16="http://schemas.microsoft.com/office/drawing/2014/main" id="{5EFA7CCD-8A34-9112-7142-A4C86123EF3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357211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73" name="矩形 72">
            <a:hlinkClick r:id="rId33" action="ppaction://hlinksldjump"/>
            <a:extLst>
              <a:ext uri="{FF2B5EF4-FFF2-40B4-BE49-F238E27FC236}">
                <a16:creationId xmlns:a16="http://schemas.microsoft.com/office/drawing/2014/main" id="{BBBD4572-0CBD-2233-BB03-BC0F9B84FEC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491664" y="310850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3</a:t>
            </a:r>
          </a:p>
        </p:txBody>
      </p:sp>
      <p:sp>
        <p:nvSpPr>
          <p:cNvPr id="72" name="矩形 71">
            <a:hlinkClick r:id="rId33" action="ppaction://hlinksldjump"/>
            <a:extLst>
              <a:ext uri="{FF2B5EF4-FFF2-40B4-BE49-F238E27FC236}">
                <a16:creationId xmlns:a16="http://schemas.microsoft.com/office/drawing/2014/main" id="{0002C64B-F2FB-952E-1632-408E0737018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441569" y="310850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ataSets</a:t>
            </a:r>
          </a:p>
        </p:txBody>
      </p:sp>
      <p:sp>
        <p:nvSpPr>
          <p:cNvPr id="71" name="矩形 70">
            <a:hlinkClick r:id="rId33" action="ppaction://hlinksldjump"/>
            <a:extLst>
              <a:ext uri="{FF2B5EF4-FFF2-40B4-BE49-F238E27FC236}">
                <a16:creationId xmlns:a16="http://schemas.microsoft.com/office/drawing/2014/main" id="{0B2FD31B-FBBA-52A0-AE29-DC55D80EF96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77959" y="310850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0" name="矩形 69">
            <a:hlinkClick r:id="rId34" action="ppaction://hlinksldjump"/>
            <a:extLst>
              <a:ext uri="{FF2B5EF4-FFF2-40B4-BE49-F238E27FC236}">
                <a16:creationId xmlns:a16="http://schemas.microsoft.com/office/drawing/2014/main" id="{7D4CA5F5-5D00-4170-1CFD-365EEAC8F67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491664" y="264489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101</a:t>
            </a:r>
          </a:p>
        </p:txBody>
      </p:sp>
      <p:sp>
        <p:nvSpPr>
          <p:cNvPr id="69" name="矩形 68">
            <a:hlinkClick r:id="rId34" action="ppaction://hlinksldjump"/>
            <a:extLst>
              <a:ext uri="{FF2B5EF4-FFF2-40B4-BE49-F238E27FC236}">
                <a16:creationId xmlns:a16="http://schemas.microsoft.com/office/drawing/2014/main" id="{E6763F9B-2C1A-920E-C6C3-6A89F0CDAF07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441569" y="2644895"/>
            <a:ext cx="295433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8" name="矩形 67">
            <a:hlinkClick r:id="rId34" action="ppaction://hlinksldjump"/>
            <a:extLst>
              <a:ext uri="{FF2B5EF4-FFF2-40B4-BE49-F238E27FC236}">
                <a16:creationId xmlns:a16="http://schemas.microsoft.com/office/drawing/2014/main" id="{4B7BA9E2-D04F-1857-552E-76E078A99AF5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977959" y="264489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512E50E7-C7E0-7123-0EF9-11FEC2C27BF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6" name="矩形 65">
            <a:hlinkClick r:id="rId35" action="ppaction://hlinksldjump"/>
            <a:extLst>
              <a:ext uri="{FF2B5EF4-FFF2-40B4-BE49-F238E27FC236}">
                <a16:creationId xmlns:a16="http://schemas.microsoft.com/office/drawing/2014/main" id="{9BBA2D95-F660-761A-02A8-121E0A2EB5F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491664" y="218128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9</a:t>
            </a:r>
          </a:p>
        </p:txBody>
      </p:sp>
      <p:sp>
        <p:nvSpPr>
          <p:cNvPr id="65" name="矩形 64">
            <a:hlinkClick r:id="rId35" action="ppaction://hlinksldjump"/>
            <a:extLst>
              <a:ext uri="{FF2B5EF4-FFF2-40B4-BE49-F238E27FC236}">
                <a16:creationId xmlns:a16="http://schemas.microsoft.com/office/drawing/2014/main" id="{CA7E5C97-8C6A-5141-3E29-3C1F53B3600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7959" y="218128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Embodied Question Answering</a:t>
            </a:r>
          </a:p>
        </p:txBody>
      </p:sp>
      <p:sp>
        <p:nvSpPr>
          <p:cNvPr id="64" name="矩形 63">
            <a:hlinkClick r:id="rId35" action="ppaction://hlinksldjump"/>
            <a:extLst>
              <a:ext uri="{FF2B5EF4-FFF2-40B4-BE49-F238E27FC236}">
                <a16:creationId xmlns:a16="http://schemas.microsoft.com/office/drawing/2014/main" id="{A825B6D8-4FE5-CD58-FB85-C700D7147A4C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矩形 62">
            <a:hlinkClick r:id="rId36" action="ppaction://hlinksldjump"/>
            <a:extLst>
              <a:ext uri="{FF2B5EF4-FFF2-40B4-BE49-F238E27FC236}">
                <a16:creationId xmlns:a16="http://schemas.microsoft.com/office/drawing/2014/main" id="{C8F112B4-EAE0-B751-F777-710F84FEE615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1491664" y="1717675"/>
            <a:ext cx="10740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chemeClr val="tx1"/>
                </a:solidFill>
              </a:rPr>
              <a:t>97</a:t>
            </a:r>
          </a:p>
        </p:txBody>
      </p:sp>
      <p:sp>
        <p:nvSpPr>
          <p:cNvPr id="62" name="矩形 61">
            <a:hlinkClick r:id="rId36" action="ppaction://hlinksldjump"/>
            <a:extLst>
              <a:ext uri="{FF2B5EF4-FFF2-40B4-BE49-F238E27FC236}">
                <a16:creationId xmlns:a16="http://schemas.microsoft.com/office/drawing/2014/main" id="{5206C4FE-3FE6-C841-55B7-39CC4AD7C6A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977959" y="1717675"/>
            <a:ext cx="3417945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1" name="矩形 60">
            <a:hlinkClick r:id="rId36" action="ppaction://hlinksldjump"/>
            <a:extLst>
              <a:ext uri="{FF2B5EF4-FFF2-40B4-BE49-F238E27FC236}">
                <a16:creationId xmlns:a16="http://schemas.microsoft.com/office/drawing/2014/main" id="{4A02BE25-CF41-C71E-2E26-54986DB0848A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标题 59">
            <a:extLst>
              <a:ext uri="{FF2B5EF4-FFF2-40B4-BE49-F238E27FC236}">
                <a16:creationId xmlns:a16="http://schemas.microsoft.com/office/drawing/2014/main" id="{084FD438-2E50-D86F-BBDD-2E7A6C6B5F90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/>
        <p:txBody>
          <a:bodyPr/>
          <a:lstStyle/>
          <a:p>
            <a:r>
              <a:rPr lang="en-US"/>
              <a:t>Forms of Interac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8702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_UPDATEPAGENUMBERS" val="1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+mn-l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shadow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Embodied AI&quot; title=&quot;Tools &amp;amp; Task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1&quot; hideSeparatingSlides=&quot;0&quot; createSections=&quot;1&quot; singleSlideId=&quot;34ce8e2c-6fa6-4a85-8197-f9966fba1779&quot; backup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584.4687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9c941209-720b-42eb-b2ec-e1a366a9a64f&quot; parentId=&quot;&quot; level=&quot;1&quot; generateAgendaSlide=&quot;1&quot; showAgendaItem=&quot;1&quot; isBreak=&quot;0&quot; topic=&quot;Introduction&quot; agendaSlideId=&quot;76084de4-10f5-4c05-946e-d9524c7a6235&quot; sectionId=&quot;{6F8303D4-AF40-4A11-9CFD-8A6859B2F582}&quot; /&gt;&lt;item duration=&quot;30&quot; id=&quot;3c6c865f-f5a6-4af4-9fda-6948e46aee9d&quot; parentId=&quot;&quot; level=&quot;1&quot; generateAgendaSlide=&quot;1&quot; showAgendaItem=&quot;1&quot; isBreak=&quot;0&quot; topic=&quot;Tool1 Embodied Robots&quot; agendaSlideId=&quot;9990acd5-2cb4-45f6-82ce-d8e583c6b0d3&quot; sectionId=&quot;{20D9004A-E7D4-4BCF-B3D4-79649476B34B}&quot; /&gt;&lt;item duration=&quot;30&quot; id=&quot;6463fe9b-6e6f-4f46-8e9b-fdcd505c4aaa&quot; parentId=&quot;&quot; level=&quot;1&quot; generateAgendaSlide=&quot;1&quot; showAgendaItem=&quot;1&quot; isBreak=&quot;0&quot; topic=&quot;Tool2 Embodied Simulators&quot; agendaSlideId=&quot;57f756fa-0a0d-4faf-86b4-61abd619b9a9&quot; sectionId=&quot;{AA50B915-8670-4405-ADA3-6C86344C0D8B}&quot; /&gt;&lt;item duration=&quot;30&quot; id=&quot;63ea3084-398f-406b-b849-60bcaaac9150&quot; parentId=&quot;&quot; level=&quot;1&quot; generateAgendaSlide=&quot;1&quot; showAgendaItem=&quot;1&quot; isBreak=&quot;0&quot; topic=&quot;Task1 Embodied Perception&quot; agendaSlideId=&quot;74c0b988-9e18-455e-b196-9685cd0b85bd&quot; sectionId=&quot;{69A7A93D-D3AC-465B-A25B-CA79596320FA}&quot; /&gt;&lt;item duration=&quot;30&quot; id=&quot;2e3e094f-a453-4b18-9822-9822f5db8ff9&quot; parentId=&quot;&quot; level=&quot;1&quot; generateAgendaSlide=&quot;1&quot; showAgendaItem=&quot;1&quot; isBreak=&quot;0&quot; topic=&quot;Task2 Embodied Interaction&quot; agendaSlideId=&quot;5bbeccca-bead-4fab-949a-86055cf9ea7e&quot; sectionId=&quot;{467EB094-BA64-4AF7-9EA7-51502B2AB01A}&quot; /&gt;&lt;item duration=&quot;30&quot; id=&quot;11a270ba-7449-4cfc-b112-775ff341b6ee&quot; parentId=&quot;&quot; level=&quot;1&quot; generateAgendaSlide=&quot;1&quot; showAgendaItem=&quot;1&quot; isBreak=&quot;0&quot; topic=&quot;Task3 Embodied Agent&quot; agendaSlideId=&quot;bfbc024c-c859-49ab-aab7-ef408c11f3ea&quot; sectionId=&quot;{60571470-3D91-43CD-8D05-0C8720B13ECB}&quot; /&gt;&lt;item duration=&quot;30&quot; id=&quot;7fed1100-4a8e-4a3f-9023-a27f1736c317&quot; parentId=&quot;&quot; level=&quot;1&quot; generateAgendaSlide=&quot;1&quot; showAgendaItem=&quot;1&quot; isBreak=&quot;0&quot; topic=&quot;Task4 Sim2Real Adaptation&quot; agendaSlideId=&quot;8c58e9c7-5a89-438d-b39d-d315e205025c&quot; sectionId=&quot;{7E40EFE9-F9FC-44FA-9052-B3C3D24731DA}&quot; /&gt;&lt;item duration=&quot;30&quot; id=&quot;950eb862-4a19-4ce0-a4e3-1a98d8242d3c&quot; parentId=&quot;&quot; level=&quot;1&quot; generateAgendaSlide=&quot;1&quot; showAgendaItem=&quot;1&quot; isBreak=&quot;0&quot; topic=&quot;Challenges &amp;amp; Future Directions&quot; agendaSlideId=&quot;f85da62d-55ff-4b76-a140-1234dd11014c&quot; sectionId=&quot;{7482D47B-E1B4-42D9-8734-2EF6F5E37A17}&quot; /&gt;&lt;/items&gt;&lt;/agenda&gt;&lt;agenda name=&quot;Embodied Robots&quot; title=&quot;Types of Robots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1&quot; hideSeparatingSlides=&quot;0&quot; createSections=&quot;0&quot; single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672.3183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369c5ed5-cfba-4558-9b20-5aca3881dace&quot; parentId=&quot;&quot; level=&quot;1&quot; generateAgendaSlide=&quot;1&quot; showAgendaItem=&quot;1&quot; isBreak=&quot;0&quot; topic=&quot;Introduction&quot; agendaSlideId=&quot;3153a492-dcd4-45be-b8ba-2d318043d54b&quot; /&gt;&lt;item duration=&quot;30&quot; id=&quot;186a2dcc-8456-4b35-97d7-bad591b9cc89&quot; parentId=&quot;&quot; level=&quot;1&quot; generateAgendaSlide=&quot;1&quot; showAgendaItem=&quot;1&quot; isBreak=&quot;0&quot; topic=&quot;Fixed-base Robots&quot; agendaSlideId=&quot;3efdf9b6-3494-4f4d-b961-6949580c130d&quot; /&gt;&lt;item duration=&quot;30&quot; id=&quot;78d56c29-3502-4e9c-a1bf-ed9c28bd4b09&quot; parentId=&quot;&quot; level=&quot;1&quot; generateAgendaSlide=&quot;1&quot; showAgendaItem=&quot;1&quot; isBreak=&quot;0&quot; topic=&quot;Wheeled Robots&quot; agendaSlideId=&quot;51d2a717-9dd7-4626-a97c-02ee6a77a1e8&quot; /&gt;&lt;item duration=&quot;30&quot; id=&quot;57066fa7-d7fb-4e79-b137-d24f7c40d589&quot; parentId=&quot;&quot; level=&quot;1&quot; generateAgendaSlide=&quot;1&quot; showAgendaItem=&quot;1&quot; isBreak=&quot;0&quot; topic=&quot;Tracked Robots&quot; agendaSlideId=&quot;1da464e7-3bc2-4c05-9aaa-fed99bfa0207&quot; /&gt;&lt;item duration=&quot;30&quot; id=&quot;810daa82-4c07-43cd-80bc-e6b720a8aa9d&quot; parentId=&quot;&quot; level=&quot;1&quot; generateAgendaSlide=&quot;1&quot; showAgendaItem=&quot;1&quot; isBreak=&quot;0&quot; topic=&quot;Quadruped Robots&quot; agendaSlideId=&quot;24995929-fa19-48d7-9998-ba4410cbdff6&quot; /&gt;&lt;item duration=&quot;30&quot; id=&quot;7e21b890-02ca-4cae-943d-0bef61490e4e&quot; parentId=&quot;&quot; level=&quot;1&quot; generateAgendaSlide=&quot;1&quot; showAgendaItem=&quot;1&quot; isBreak=&quot;0&quot; topic=&quot;Humanoid Robots&quot; agendaSlideId=&quot;f19d3b96-f418-4dff-bb6e-3607952884af&quot; /&gt;&lt;item duration=&quot;30&quot; id=&quot;14bc2737-07f0-4a25-96c7-79e0c35c77a2&quot; parentId=&quot;&quot; level=&quot;1&quot; generateAgendaSlide=&quot;1&quot; showAgendaItem=&quot;1&quot; isBreak=&quot;0&quot; topic=&quot;Biomimetic Robots&quot; agendaSlideId=&quot;48b732f8-3ef4-4489-9966-ee5365a512dc&quot; /&gt;&lt;/items&gt;&lt;/agenda&gt;&lt;agenda name=&quot;Embodied Simulators&quot; title=&quot;Types of Simulators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1&quot; hideSeparatingSlides=&quot;0&quot; createSections=&quot;0&quot; single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500.6581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8704f652-87f3-412f-9bb6-4289838bdb16&quot; parentId=&quot;&quot; level=&quot;1&quot; generateAgendaSlide=&quot;1&quot; showAgendaItem=&quot;1&quot; isBreak=&quot;0&quot; topic=&quot;Introduction&quot; agendaSlideId=&quot;5706621f-8ff1-4d28-95ae-e4f190ffbbcb&quot; sectionId=&quot;&quot; /&gt;&lt;item duration=&quot;30&quot; id=&quot;2fedc8df-a216-40ea-8736-3f1a9b676500&quot; parentId=&quot;&quot; level=&quot;1&quot; generateAgendaSlide=&quot;1&quot; showAgendaItem=&quot;1&quot; isBreak=&quot;0&quot; topic=&quot;General Simulator&quot; agendaSlideId=&quot;0ecd0b53-8ee5-4c82-a4ed-e77ce0044618&quot; sectionId=&quot;&quot; /&gt;&lt;item duration=&quot;30&quot; id=&quot;da7510d1-5667-4402-b9f7-9236fe78b84d&quot; parentId=&quot;&quot; level=&quot;1&quot; generateAgendaSlide=&quot;1&quot; showAgendaItem=&quot;1&quot; isBreak=&quot;0&quot; topic=&quot;Real-Scene Based Simulators&quot; agendaSlideId=&quot;f545c868-7312-400b-8a54-f255c4669ba4&quot; sectionId=&quot;&quot; /&gt;&lt;item duration=&quot;30&quot; id=&quot;2fd117a2-992f-407c-9ccf-6512eb90744c&quot; parentId=&quot;&quot; level=&quot;1&quot; generateAgendaSlide=&quot;1&quot; showAgendaItem=&quot;1&quot; isBreak=&quot;0&quot; topic=&quot;Automated Simulation Scene Construction&quot; agendaSlideId=&quot;fa02615a-27a4-4867-b719-805e771519b8&quot; sectionId=&quot;&quot; /&gt;&lt;/items&gt;&lt;/agenda&gt;&lt;agenda name=&quot;Embodied Perception&quot; title=&quot;Ways of Perception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1&quot; hideSeparatingSlides=&quot;0&quot; createSections=&quot;0&quot; single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2391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93f070db-a76d-40c3-8880-9836dc3256a1&quot; parentId=&quot;&quot; level=&quot;1&quot; generateAgendaSlide=&quot;1&quot; showAgendaItem=&quot;1&quot; isBreak=&quot;0&quot; topic=&quot;Introduction&quot; agendaSlideId=&quot;8bb23422-855f-4f98-be1e-de522a382985&quot; /&gt;&lt;item duration=&quot;30&quot; id=&quot;270a160e-b30f-43c3-8a7a-b4037527d2d6&quot; parentId=&quot;&quot; level=&quot;1&quot; generateAgendaSlide=&quot;1&quot; showAgendaItem=&quot;1&quot; isBreak=&quot;0&quot; topic=&quot;Active Visual Perception&quot; agendaSlideId=&quot;fb523f80-95ea-41a4-b503-8824842d720b&quot; /&gt;&lt;item duration=&quot;30&quot; id=&quot;ebdcff6a-b3c3-44db-816e-4bce8e48e62d&quot; parentId=&quot;270a160e-b30f-43c3-8a7a-b4037527d2d6&quot; level=&quot;2&quot; generateAgendaSlide=&quot;1&quot; showAgendaItem=&quot;1&quot; isBreak=&quot;0&quot; topic=&quot;Introduction&quot; agendaSlideId=&quot;e27908af-48d7-4e53-a010-497a63fbeb04&quot; /&gt;&lt;item duration=&quot;30&quot; id=&quot;258a2da5-39f4-4dfb-bee2-bd235bf20bb0&quot; parentId=&quot;270a160e-b30f-43c3-8a7a-b4037527d2d6&quot; level=&quot;2&quot; generateAgendaSlide=&quot;1&quot; showAgendaItem=&quot;1&quot; isBreak=&quot;0&quot; topic=&quot;Visual Simultaneous Localization and Mapping&quot; agendaSlideId=&quot;9850884c-3a40-4c66-9f13-5843f4a453f6&quot; /&gt;&lt;item duration=&quot;30&quot; id=&quot;8b4a96b8-dfd5-44d4-9734-74fbd22e894e&quot; parentId=&quot;270a160e-b30f-43c3-8a7a-b4037527d2d6&quot; level=&quot;2&quot; generateAgendaSlide=&quot;1&quot; showAgendaItem=&quot;1&quot; isBreak=&quot;0&quot; topic=&quot;3D Scene Understanding&quot; agendaSlideId=&quot;196134e7-3b1d-444c-bab4-613db596f1b8&quot; /&gt;&lt;item duration=&quot;30&quot; id=&quot;868bad27-4d21-4a9c-b848-402add2a7ce6&quot; parentId=&quot;270a160e-b30f-43c3-8a7a-b4037527d2d6&quot; level=&quot;2&quot; generateAgendaSlide=&quot;1&quot; showAgendaItem=&quot;1&quot; isBreak=&quot;0&quot; topic=&quot;Active Exploration&quot; agendaSlideId=&quot;0b74f1bb-7de5-4621-a211-f4558973634b&quot; /&gt;&lt;item duration=&quot;30&quot; id=&quot;c6975f3d-9a8e-484d-a3da-6c7c3b7cd045&quot; parentId=&quot;&quot; level=&quot;1&quot; generateAgendaSlide=&quot;1&quot; showAgendaItem=&quot;1&quot; isBreak=&quot;0&quot; topic=&quot;3D Visual Grounding&quot; agendaSlideId=&quot;751fe5d2-7cea-4b0f-9834-a51034efc919&quot; /&gt;&lt;item duration=&quot;30&quot; id=&quot;ec50c2c2-fe38-4ca4-8d6f-52f3081b6a89&quot; parentId=&quot;c6975f3d-9a8e-484d-a3da-6c7c3b7cd045&quot; level=&quot;2&quot; generateAgendaSlide=&quot;1&quot; showAgendaItem=&quot;1&quot; isBreak=&quot;0&quot; topic=&quot;Introduction&quot; agendaSlideId=&quot;2d82ac53-4287-4488-b28b-eb237bfba996&quot; /&gt;&lt;item duration=&quot;30&quot; id=&quot;863cece4-cd8e-4d76-a1e4-02c1dc217ddf&quot; parentId=&quot;c6975f3d-9a8e-484d-a3da-6c7c3b7cd045&quot; level=&quot;2&quot; generateAgendaSlide=&quot;1&quot; showAgendaItem=&quot;1&quot; isBreak=&quot;0&quot; topic=&quot;Two Stage&quot; agendaSlideId=&quot;60c9dbde-0ac6-4a81-9933-5ee65dd1bb4a&quot; /&gt;&lt;item duration=&quot;30&quot; id=&quot;36219946-dda4-4955-acba-789aa3095265&quot; parentId=&quot;c6975f3d-9a8e-484d-a3da-6c7c3b7cd045&quot; level=&quot;2&quot; generateAgendaSlide=&quot;1&quot; showAgendaItem=&quot;1&quot; isBreak=&quot;0&quot; topic=&quot;One Stage&quot; agendaSlideId=&quot;4022e9d9-6589-4a5a-9aa1-84836a3a2822&quot; /&gt;&lt;item duration=&quot;30&quot; id=&quot;aee987dd-50fb-4de4-bf2f-8a58514f8a09&quot; parentId=&quot;&quot; level=&quot;1&quot; generateAgendaSlide=&quot;1&quot; showAgendaItem=&quot;1&quot; isBreak=&quot;0&quot; topic=&quot;Visual Language Navigation&quot; agendaSlideId=&quot;f4a5854f-9f61-4cc7-9857-2c3066370348&quot; /&gt;&lt;item duration=&quot;30&quot; id=&quot;c310054d-c648-40d5-93a0-d1bf72be84cc&quot; parentId=&quot;aee987dd-50fb-4de4-bf2f-8a58514f8a09&quot; level=&quot;2&quot; generateAgendaSlide=&quot;1&quot; showAgendaItem=&quot;1&quot; isBreak=&quot;0&quot; topic=&quot;Introduction&quot; agendaSlideId=&quot;7de8a299-dfc1-4c4b-a9df-3cc9d095c4f0&quot; /&gt;&lt;item duration=&quot;30&quot; id=&quot;e3a6d0a8-9ede-4f3b-9183-c84c405c181c&quot; parentId=&quot;aee987dd-50fb-4de4-bf2f-8a58514f8a09&quot; level=&quot;2&quot; generateAgendaSlide=&quot;1&quot; showAgendaItem=&quot;1&quot; isBreak=&quot;0&quot; topic=&quot;DataSets&quot; agendaSlideId=&quot;5f6576a0-fde0-4b3f-b85d-ed052301378b&quot; /&gt;&lt;item duration=&quot;30&quot; id=&quot;44a10acd-baec-4f8f-bade-f61949fef0eb&quot; parentId=&quot;aee987dd-50fb-4de4-bf2f-8a58514f8a09&quot; level=&quot;2&quot; generateAgendaSlide=&quot;1&quot; showAgendaItem=&quot;1&quot; isBreak=&quot;0&quot; topic=&quot;Methods&quot; agendaSlideId=&quot;bbcab6b7-1a8a-4ac3-8cfa-0f26e545cc82&quot; /&gt;&lt;item duration=&quot;30&quot; id=&quot;aa27d9d2-7e2a-45c2-8ed3-3de46e9cf044&quot; parentId=&quot;&quot; level=&quot;1&quot; generateAgendaSlide=&quot;1&quot; showAgendaItem=&quot;1&quot; isBreak=&quot;0&quot; topic=&quot;Non-Visual Perception: Tactile&quot; agendaSlideId=&quot;fa92ebc4-2bbc-4dea-930d-e195e2b5cc79&quot; /&gt;&lt;item duration=&quot;30&quot; id=&quot;090f90b9-8d08-46a1-8e51-564c9146be2d&quot; parentId=&quot;aa27d9d2-7e2a-45c2-8ed3-3de46e9cf044&quot; level=&quot;2&quot; generateAgendaSlide=&quot;1&quot; showAgendaItem=&quot;1&quot; isBreak=&quot;0&quot; topic=&quot;Introduction&quot; agendaSlideId=&quot;af4a1d4f-8857-40fa-b6f6-67da2f5fae90&quot; /&gt;&lt;item duration=&quot;30&quot; id=&quot;cd9a7f34-ba08-43e3-9cec-65ff024ec879&quot; parentId=&quot;aa27d9d2-7e2a-45c2-8ed3-3de46e9cf044&quot; level=&quot;2&quot; generateAgendaSlide=&quot;1&quot; showAgendaItem=&quot;1&quot; isBreak=&quot;0&quot; topic=&quot;Sensor Design&quot; agendaSlideId=&quot;a22606a0-0a5b-403b-bbad-9fbd82bcbbe7&quot; /&gt;&lt;item duration=&quot;30&quot; id=&quot;102e92ee-720b-472f-a69f-9d25f6459435&quot; parentId=&quot;aa27d9d2-7e2a-45c2-8ed3-3de46e9cf044&quot; level=&quot;2&quot; generateAgendaSlide=&quot;1&quot; showAgendaItem=&quot;1&quot; isBreak=&quot;0&quot; topic=&quot;DataSets&quot; agendaSlideId=&quot;d840bdbb-5121-4cdc-8eb5-8a12d6db33e7&quot; /&gt;&lt;item duration=&quot;30&quot; id=&quot;a040d4bd-c290-431d-823c-ec41ee711e9f&quot; parentId=&quot;aa27d9d2-7e2a-45c2-8ed3-3de46e9cf044&quot; level=&quot;2&quot; generateAgendaSlide=&quot;1&quot; showAgendaItem=&quot;1&quot; isBreak=&quot;0&quot; topic=&quot;Methods&quot; agendaSlideId=&quot;da5fcb9b-24de-454d-b8e8-8ac473616ad8&quot; /&gt;&lt;/items&gt;&lt;/agenda&gt;&lt;agenda name=&quot;Embodied Interaction&quot; title=&quot;Forms of Interactive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1&quot; hideSeparatingSlides=&quot;0&quot; createSections=&quot;0&quot; single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548.7213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3a79ec79-72e0-4ced-842b-150518de32c0&quot; parentId=&quot;&quot; level=&quot;1&quot; generateAgendaSlide=&quot;1&quot; showAgendaItem=&quot;1&quot; isBreak=&quot;0&quot; topic=&quot;Introduction&quot; agendaSlideId=&quot;bbf40df1-5f6a-4591-b9a9-b8a6b6f60026&quot; /&gt;&lt;item duration=&quot;30&quot; id=&quot;8971a405-b5b3-4ef6-92e0-70fb0926a238&quot; parentId=&quot;&quot; level=&quot;1&quot; generateAgendaSlide=&quot;1&quot; showAgendaItem=&quot;1&quot; isBreak=&quot;0&quot; topic=&quot;Embodied Question Answering&quot; agendaSlideId=&quot;90e94714-1a67-4c93-8738-6aa6f2b37237&quot; /&gt;&lt;item duration=&quot;30&quot; id=&quot;f70f1100-abd3-4ee7-a899-89d8fd5142b2&quot; parentId=&quot;8971a405-b5b3-4ef6-92e0-70fb0926a238&quot; level=&quot;2&quot; generateAgendaSlide=&quot;1&quot; showAgendaItem=&quot;1&quot; isBreak=&quot;0&quot; topic=&quot;Introduction&quot; agendaSlideId=&quot;ccbb84a5-27f5-4c5f-85ee-6f4121daa891&quot; /&gt;&lt;item duration=&quot;30&quot; id=&quot;e15a2249-d143-4761-a011-6a0b9f3b1e05&quot; parentId=&quot;8971a405-b5b3-4ef6-92e0-70fb0926a238&quot; level=&quot;2&quot; generateAgendaSlide=&quot;1&quot; showAgendaItem=&quot;1&quot; isBreak=&quot;0&quot; topic=&quot;DataSets&quot; agendaSlideId=&quot;8960913e-c0c3-4b15-87f1-b7f4570d27a7&quot; /&gt;&lt;item duration=&quot;30&quot; id=&quot;b6abef8e-a10f-46ff-9bd0-94765cdcc24e&quot; parentId=&quot;8971a405-b5b3-4ef6-92e0-70fb0926a238&quot; level=&quot;2&quot; generateAgendaSlide=&quot;1&quot; showAgendaItem=&quot;1&quot; isBreak=&quot;0&quot; topic=&quot;Methods&quot; agendaSlideId=&quot;ac41b670-fd68-4e64-a967-d426eff41da0&quot; /&gt;&lt;item duration=&quot;30&quot; id=&quot;99d7768e-4278-4385-b73c-30d93a23e61a&quot; parentId=&quot;8971a405-b5b3-4ef6-92e0-70fb0926a238&quot; level=&quot;2&quot; generateAgendaSlide=&quot;1&quot; showAgendaItem=&quot;1&quot; isBreak=&quot;0&quot; topic=&quot;Metrics&quot; agendaSlideId=&quot;6bf3aa1c-5437-4654-81f6-15b42928d75c&quot; /&gt;&lt;item duration=&quot;30&quot; id=&quot;1b7b1d0d-0d32-4257-bab8-ddb6a99f173d&quot; parentId=&quot;8971a405-b5b3-4ef6-92e0-70fb0926a238&quot; level=&quot;2&quot; generateAgendaSlide=&quot;1&quot; showAgendaItem=&quot;1&quot; isBreak=&quot;0&quot; topic=&quot;Limitations&quot; agendaSlideId=&quot;d3c7eef6-3e74-493e-a245-773c169f4591&quot; /&gt;&lt;item duration=&quot;30&quot; id=&quot;39d3cb7e-13b5-480d-8f5c-5bc12c5e95ce&quot; parentId=&quot;&quot; level=&quot;1&quot; generateAgendaSlide=&quot;1&quot; showAgendaItem=&quot;1&quot; isBreak=&quot;0&quot; topic=&quot;Embodied Grasping&quot; agendaSlideId=&quot;aa97632e-69ec-43e2-a47a-f6f29ab47838&quot; /&gt;&lt;item duration=&quot;30&quot; id=&quot;85cca8de-92a0-4c46-94ad-5064ee0fe485&quot; parentId=&quot;39d3cb7e-13b5-480d-8f5c-5bc12c5e95ce&quot; level=&quot;2&quot; generateAgendaSlide=&quot;1&quot; showAgendaItem=&quot;1&quot; isBreak=&quot;0&quot; topic=&quot;Introduction&quot; agendaSlideId=&quot;da1c1820-914e-4525-b41c-30a13a4a07c8&quot; /&gt;&lt;item duration=&quot;30&quot; id=&quot;a1504d70-f4a8-486b-b9de-7c0ee7c5a309&quot; parentId=&quot;39d3cb7e-13b5-480d-8f5c-5bc12c5e95ce&quot; level=&quot;2&quot; generateAgendaSlide=&quot;1&quot; showAgendaItem=&quot;1&quot; isBreak=&quot;0&quot; topic=&quot;Gripper&quot; agendaSlideId=&quot;e35312c2-b13d-480a-b122-ef828e839690&quot; /&gt;&lt;item duration=&quot;30&quot; id=&quot;8c12cafc-2c9c-4c23-847c-6af33c75e76f&quot; parentId=&quot;39d3cb7e-13b5-480d-8f5c-5bc12c5e95ce&quot; level=&quot;2&quot; generateAgendaSlide=&quot;1&quot; showAgendaItem=&quot;1&quot; isBreak=&quot;0&quot; topic=&quot;Datasets&quot; agendaSlideId=&quot;61aaad74-1b3f-4ca1-8828-95a4ba0041a8&quot; /&gt;&lt;item duration=&quot;30&quot; id=&quot;f28d93c1-9235-453f-9968-fa3943d52c46&quot; parentId=&quot;39d3cb7e-13b5-480d-8f5c-5bc12c5e95ce&quot; level=&quot;2&quot; generateAgendaSlide=&quot;1&quot; showAgendaItem=&quot;1&quot; isBreak=&quot;0&quot; topic=&quot;Language-Guided Grasping&quot; agendaSlideId=&quot;d4700447-82fe-436d-ba5c-cd5d3ff38b60&quot; /&gt;&lt;item duration=&quot;30&quot; id=&quot;942b247d-ec93-4778-a023-6200618fe4b0&quot; parentId=&quot;39d3cb7e-13b5-480d-8f5c-5bc12c5e95ce&quot; level=&quot;2&quot; generateAgendaSlide=&quot;1&quot; showAgendaItem=&quot;1&quot; isBreak=&quot;0&quot; topic=&quot;End-to-End Approaches&quot; agendaSlideId=&quot;256ceb1b-5282-479b-b09f-b280e8d56277&quot; /&gt;&lt;item duration=&quot;30&quot; id=&quot;de940762-773d-4edf-a1be-2d7a83632e07&quot; parentId=&quot;39d3cb7e-13b5-480d-8f5c-5bc12c5e95ce&quot; level=&quot;2&quot; generateAgendaSlide=&quot;1&quot; showAgendaItem=&quot;1&quot; isBreak=&quot;0&quot; topic=&quot;Modular Approaches&quot; agendaSlideId=&quot;490ebd79-5f3a-4dcf-a71e-ca959b8c6277&quot; /&gt;&lt;/items&gt;&lt;/agenda&gt;&lt;agenda name=&quot;Embodied Agent&quot; title=&quot;Executions of Agent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1&quot; hideSeparatingSlides=&quot;0&quot; createSections=&quot;0&quot; single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30.1403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b9fcc292-12de-42b4-99e0-b534a3e79864&quot; parentId=&quot;&quot; level=&quot;1&quot; generateAgendaSlide=&quot;1&quot; showAgendaItem=&quot;1&quot; isBreak=&quot;0&quot; topic=&quot;Introduction&quot; agendaSlideId=&quot;f8be7a2d-7264-4b68-8ac3-01c050178dfa&quot; /&gt;&lt;item duration=&quot;30&quot; id=&quot;8736bc4a-6e70-4871-a8a8-68eb7bfd6c29&quot; parentId=&quot;&quot; level=&quot;1&quot; generateAgendaSlide=&quot;1&quot; showAgendaItem=&quot;1&quot; isBreak=&quot;0&quot; topic=&quot;Embodied Multimodal Foundation Model&quot; agendaSlideId=&quot;c51189d9-a7b4-400a-9bf7-d8f1268b6aaa&quot; /&gt;&lt;item duration=&quot;30&quot; id=&quot;334eb2a5-ea53-4bba-8c4e-439f8535d363&quot; parentId=&quot;&quot; level=&quot;1&quot; generateAgendaSlide=&quot;1&quot; showAgendaItem=&quot;1&quot; isBreak=&quot;0&quot; topic=&quot;Embodied Task Planning&quot; agendaSlideId=&quot;c313a3bf-972a-4020-ac80-414f000d153f&quot; /&gt;&lt;item duration=&quot;30&quot; id=&quot;cfe40212-0aaf-451e-ad92-5e0df820eadd&quot; parentId=&quot;334eb2a5-ea53-4bba-8c4e-439f8535d363&quot; level=&quot;2&quot; generateAgendaSlide=&quot;1&quot; showAgendaItem=&quot;1&quot; isBreak=&quot;0&quot; topic=&quot;Introduction&quot; agendaSlideId=&quot;d3177b66-0d59-4daf-8adb-c2bf8581c1c0&quot; /&gt;&lt;item duration=&quot;30&quot; id=&quot;f2e4d61a-f9a7-4162-a5b2-bde2f405dd75&quot; parentId=&quot;334eb2a5-ea53-4bba-8c4e-439f8535d363&quot; level=&quot;2&quot; generateAgendaSlide=&quot;1&quot; showAgendaItem=&quot;1&quot; isBreak=&quot;0&quot; topic=&quot;Planning utilizing the Emergent Capabilities of LLMs&quot; agendaSlideId=&quot;28910f72-0685-4cd2-9f71-cefc8c70e099&quot; /&gt;&lt;item duration=&quot;30&quot; id=&quot;d5ce42a0-d109-4ccc-a2f8-1a69c9983169&quot; parentId=&quot;334eb2a5-ea53-4bba-8c4e-439f8535d363&quot; level=&quot;2&quot; generateAgendaSlide=&quot;1&quot; showAgendaItem=&quot;1&quot; isBreak=&quot;0&quot; topic=&quot;Planning utilizing the visual information from embodied perception model&quot; agendaSlideId=&quot;432bc900-8e29-4e9f-bc1b-c9eb72ae30b7&quot; /&gt;&lt;item duration=&quot;30&quot; id=&quot;035e9bac-3bd3-4163-905f-23b836fb96ac&quot; parentId=&quot;334eb2a5-ea53-4bba-8c4e-439f8535d363&quot; level=&quot;2&quot; generateAgendaSlide=&quot;1&quot; showAgendaItem=&quot;1&quot; isBreak=&quot;0&quot; topic=&quot;Planning utilizing the VLMs&quot; agendaSlideId=&quot;5634d75c-9c3e-4b22-bc68-c8e001457ed3&quot; /&gt;&lt;item duration=&quot;30&quot; id=&quot;59d42131-68f8-433b-8de6-7803878d3d41&quot; parentId=&quot;&quot; level=&quot;1&quot; generateAgendaSlide=&quot;1&quot; showAgendaItem=&quot;1&quot; isBreak=&quot;0&quot; topic=&quot;Embodied Action Planning&quot; agendaSlideId=&quot;d8cfb65e-70e8-41a7-8879-1b50e375f9ea&quot; /&gt;&lt;item duration=&quot;30&quot; id=&quot;01acbc01-098a-4c92-bb7b-5593f41ff5e6&quot; parentId=&quot;59d42131-68f8-433b-8de6-7803878d3d41&quot; level=&quot;2&quot; generateAgendaSlide=&quot;1&quot; showAgendaItem=&quot;1&quot; isBreak=&quot;0&quot; topic=&quot;Introduction&quot; agendaSlideId=&quot;b66ba090-89f9-4c6c-abb7-d091a89169c1&quot; /&gt;&lt;item duration=&quot;30&quot; id=&quot;4eaa7a6a-8fb3-48b1-9f26-579ad0539cda&quot; parentId=&quot;59d42131-68f8-433b-8de6-7803878d3d41&quot; level=&quot;2&quot; generateAgendaSlide=&quot;1&quot; showAgendaItem=&quot;1&quot; isBreak=&quot;0&quot; topic=&quot;Action utilizing APIs&quot; agendaSlideId=&quot;6b9f091a-1059-4b47-b866-db164c1f044a&quot; /&gt;&lt;item duration=&quot;30&quot; id=&quot;6c8996b6-8263-42d6-8277-4175b1bdab14&quot; parentId=&quot;59d42131-68f8-433b-8de6-7803878d3d41&quot; level=&quot;2&quot; generateAgendaSlide=&quot;1&quot; showAgendaItem=&quot;1&quot; isBreak=&quot;0&quot; topic=&quot;Action utilizing VLA model&quot; agendaSlideId=&quot;ee5a6348-d765-4f58-8929-d3d5aa3325d6&quot; /&gt;&lt;/items&gt;&lt;/agenda&gt;&lt;agenda name=&quot;Sim2Real Adaptation&quot; title=&quot;Steps of Adaptation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1&quot; hideSeparatingSlides=&quot;0&quot; createSections=&quot;0&quot; single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556.546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93819216-5119-4b0f-bc7c-229ac51267a1&quot; parentId=&quot;&quot; level=&quot;1&quot; generateAgendaSlide=&quot;1&quot; showAgendaItem=&quot;1&quot; isBreak=&quot;0&quot; topic=&quot;Introduction&quot; agendaSlideId=&quot;fbc01936-e15e-4a39-8cf0-fa1187d1fd47&quot; /&gt;&lt;item duration=&quot;30&quot; id=&quot;6681a80c-4fdd-48b2-8a7e-415d51cf676d&quot; parentId=&quot;&quot; level=&quot;1&quot; generateAgendaSlide=&quot;1&quot; showAgendaItem=&quot;1&quot; isBreak=&quot;0&quot; topic=&quot;Embodied World Model&quot; agendaSlideId=&quot;9223e5eb-8d86-4678-8a36-2499c0368022&quot; /&gt;&lt;item duration=&quot;30&quot; id=&quot;4c41dfec-b826-47d6-964e-4340c123e5c3&quot; parentId=&quot;6681a80c-4fdd-48b2-8a7e-415d51cf676d&quot; level=&quot;2&quot; generateAgendaSlide=&quot;1&quot; showAgendaItem=&quot;1&quot; isBreak=&quot;0&quot; topic=&quot;Introduction&quot; agendaSlideId=&quot;6bb57237-a722-41cd-af03-dd48e1113687&quot; /&gt;&lt;item duration=&quot;30&quot; id=&quot;414e8660-ce7a-4fb0-af39-2bc43b513168&quot; parentId=&quot;6681a80c-4fdd-48b2-8a7e-415d51cf676d&quot; level=&quot;2&quot; generateAgendaSlide=&quot;1&quot; showAgendaItem=&quot;1&quot; isBreak=&quot;0&quot; topic=&quot;Generation-based Methods&quot; agendaSlideId=&quot;014f61ee-facc-431e-af9e-5113d8f0f904&quot; /&gt;&lt;item duration=&quot;30&quot; id=&quot;e1ef9d7c-3cc0-46ef-89e2-d92a114e1e9e&quot; parentId=&quot;6681a80c-4fdd-48b2-8a7e-415d51cf676d&quot; level=&quot;2&quot; generateAgendaSlide=&quot;1&quot; showAgendaItem=&quot;1&quot; isBreak=&quot;0&quot; topic=&quot;Prediction-based Methods&quot; agendaSlideId=&quot;06ff5979-c13a-4ccd-a951-32189b4a3c1a&quot; /&gt;&lt;item duration=&quot;30&quot; id=&quot;ec3eff76-a2f4-4c6e-8934-64e09f6a30d5&quot; parentId=&quot;6681a80c-4fdd-48b2-8a7e-415d51cf676d&quot; level=&quot;2&quot; generateAgendaSlide=&quot;1&quot; showAgendaItem=&quot;1&quot; isBreak=&quot;0&quot; topic=&quot;Knowledge-driven Methods&quot; agendaSlideId=&quot;cdfa8ac1-14f7-4e55-8dd8-45cbfbde56eb&quot; /&gt;&lt;item duration=&quot;30&quot; id=&quot;2a1d0c49-94c5-45ed-bafd-cec712ca1d07&quot; parentId=&quot;&quot; level=&quot;1&quot; generateAgendaSlide=&quot;1&quot; showAgendaItem=&quot;1&quot; isBreak=&quot;0&quot; topic=&quot;Data Collection and Training&quot; agendaSlideId=&quot;b6c90b23-7fd8-417f-b696-4f0705444a0a&quot; /&gt;&lt;item duration=&quot;30&quot; id=&quot;a403efe3-c39d-4e35-b1f9-edadeab97aaf&quot; parentId=&quot;2a1d0c49-94c5-45ed-bafd-cec712ca1d07&quot; level=&quot;2&quot; generateAgendaSlide=&quot;1&quot; showAgendaItem=&quot;1&quot; isBreak=&quot;0&quot; topic=&quot;Introduction&quot; agendaSlideId=&quot;52f8d7a7-907d-4e46-92a5-a069ae116308&quot; /&gt;&lt;item duration=&quot;30&quot; id=&quot;171530fd-bfa1-4fbd-838e-089cf2c9a26c&quot; parentId=&quot;2a1d0c49-94c5-45ed-bafd-cec712ca1d07&quot; level=&quot;2&quot; generateAgendaSlide=&quot;1&quot; showAgendaItem=&quot;1&quot; isBreak=&quot;0&quot; topic=&quot;Real-World Data&quot; agendaSlideId=&quot;f78db72a-dfbe-48c1-b840-23476a3a2f96&quot; /&gt;&lt;item duration=&quot;30&quot; id=&quot;e403def6-3145-483a-aab6-e6fe84baa103&quot; parentId=&quot;2a1d0c49-94c5-45ed-bafd-cec712ca1d07&quot; level=&quot;2&quot; generateAgendaSlide=&quot;1&quot; showAgendaItem=&quot;1&quot; isBreak=&quot;0&quot; topic=&quot;Simulated Data&quot; agendaSlideId=&quot;0b0779fb-1313-47d4-a7c0-2fda20717667&quot; /&gt;&lt;item duration=&quot;30&quot; id=&quot;d6823f86-996b-4f7c-bd81-767d1897e51c&quot; parentId=&quot;2a1d0c49-94c5-45ed-bafd-cec712ca1d07&quot; level=&quot;2&quot; generateAgendaSlide=&quot;1&quot; showAgendaItem=&quot;1&quot; isBreak=&quot;0&quot; topic=&quot;Sim2Real Paradigms&quot; agendaSlideId=&quot;cbd69e8f-bffa-4bd0-8d57-f93ac9c8ea8d&quot; /&gt;&lt;item duration=&quot;30&quot; id=&quot;f197b7a8-c59b-4ec4-9658-5de335fa92f3&quot; parentId=&quot;&quot; level=&quot;1&quot; generateAgendaSlide=&quot;1&quot; showAgendaItem=&quot;1&quot; isBreak=&quot;0&quot; topic=&quot;Embodied Control&quot; agendaSlideId=&quot;bd85f372-35c6-4333-8074-59d3c346b920&quot; /&gt;&lt;item duration=&quot;30&quot; id=&quot;33916f7b-b807-4933-9036-175b05e54439&quot; parentId=&quot;f197b7a8-c59b-4ec4-9658-5de335fa92f3&quot; level=&quot;2&quot; generateAgendaSlide=&quot;1&quot; showAgendaItem=&quot;1&quot; isBreak=&quot;0&quot; topic=&quot;Introduction&quot; agendaSlideId=&quot;37e2f5d8-716e-4b91-93d1-371d4c2ebe3c&quot; /&gt;&lt;item duration=&quot;30&quot; id=&quot;1584b64e-9ac2-4dbb-a908-097371d327b5&quot; parentId=&quot;f197b7a8-c59b-4ec4-9658-5de335fa92f3&quot; level=&quot;2&quot; generateAgendaSlide=&quot;1&quot; showAgendaItem=&quot;1&quot; isBreak=&quot;0&quot; topic=&quot;Deep Reinforcement Learning&quot; agendaSlideId=&quot;67c4a520-5a2f-4db8-8d2d-7ae745af4bfc&quot; /&gt;&lt;item duration=&quot;30&quot; id=&quot;79cb2342-f082-43ab-8a1b-84edd94ab46c&quot; parentId=&quot;f197b7a8-c59b-4ec4-9658-5de335fa92f3&quot; level=&quot;2&quot; generateAgendaSlide=&quot;1&quot; showAgendaItem=&quot;1&quot; isBreak=&quot;0&quot; topic=&quot;Imitation Learning&quot; agendaSlideId=&quot;4daae6dd-7d27-4aa6-8f73-ac23b79cc732&quot; /&gt;&lt;item duration=&quot;30&quot; id=&quot;4ab7f081-4818-4b5b-be58-c8c42759707b&quot; parentId=&quot;f197b7a8-c59b-4ec4-9658-5de335fa92f3&quot; level=&quot;2&quot; generateAgendaSlide=&quot;1&quot; showAgendaItem=&quot;1&quot; isBreak=&quot;0&quot; topic=&quot;Example of embodied control&quot; agendaSlideId=&quot;591f9574-3de5-4d05-a533-66bc7228ff7a&quot; /&gt;&lt;item duration=&quot;30&quot; id=&quot;6fade8b0-c198-445e-b8e1-83165b71325e&quot; parentId=&quot;&quot; level=&quot;1&quot; generateAgendaSlide=&quot;1&quot; showAgendaItem=&quot;1&quot; isBreak=&quot;0&quot; topic=&quot;All Robots in One&quot; agendaSlideId=&quot;4b5773e0-4f1b-4606-a195-460690ff5236&quot; /&gt;&lt;/items&gt;&lt;/agenda&gt;&lt;agenda name=&quot;Challenges &amp;amp; Future Directions&quot; title=&quot;Difficulty of Implementing Embodied Intelligence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1&quot; hideSeparatingSlides=&quot;0&quot; createSections=&quot;0&quot; single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43.2277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42555fd7-23f4-465d-90ed-37f663190b4f&quot; parentId=&quot;&quot; level=&quot;1&quot; generateAgendaSlide=&quot;1&quot; showAgendaItem=&quot;1&quot; isBreak=&quot;0&quot; topic=&quot;High-quality Robotic Datasets&quot; agendaSlideId=&quot;a0616639-b8e9-4cf9-98c0-5f9b2745af0f&quot; /&gt;&lt;item duration=&quot;30&quot; id=&quot;760d328f-8122-4203-a983-bed5659ed124&quot; parentId=&quot;&quot; level=&quot;1&quot; generateAgendaSlide=&quot;1&quot; showAgendaItem=&quot;1&quot; isBreak=&quot;0&quot; topic=&quot;Efficient Utilization of Human Demonstration Data&quot; agendaSlideId=&quot;302bddaa-b818-4dbc-b331-69aceee73407&quot; /&gt;&lt;item duration=&quot;30&quot; id=&quot;6bd61396-7a51-4d43-a730-82d618475164&quot; parentId=&quot;&quot; level=&quot;1&quot; generateAgendaSlide=&quot;1&quot; showAgendaItem=&quot;1&quot; isBreak=&quot;0&quot; topic=&quot;Cognition of Complex Environment&quot; agendaSlideId=&quot;7d024657-cbb6-4c93-8065-91c2ce2e72e0&quot; /&gt;&lt;item duration=&quot;30&quot; id=&quot;996db57c-edfd-4500-b875-d5c96c298e9b&quot; parentId=&quot;&quot; level=&quot;1&quot; generateAgendaSlide=&quot;1&quot; showAgendaItem=&quot;1&quot; isBreak=&quot;0&quot; topic=&quot;Long-Horizon Task Execution&quot; agendaSlideId=&quot;d8017fa5-4196-4d0d-8b39-a7e1d2936f76&quot; /&gt;&lt;item duration=&quot;30&quot; id=&quot;02c43642-c057-4a29-bea2-71e0cc328519&quot; parentId=&quot;&quot; level=&quot;1&quot; generateAgendaSlide=&quot;1&quot; showAgendaItem=&quot;1&quot; isBreak=&quot;0&quot; topic=&quot;Causal Relation Discovery&quot; agendaSlideId=&quot;c88fb87e-0939-46c9-88db-d88e6c971aa4&quot; /&gt;&lt;item duration=&quot;30&quot; id=&quot;556cedd1-9df3-48cc-ada4-e470deba9fdd&quot; parentId=&quot;&quot; level=&quot;1&quot; generateAgendaSlide=&quot;1&quot; showAgendaItem=&quot;1&quot; isBreak=&quot;0&quot; topic=&quot;Continual Learning&quot; agendaSlideId=&quot;e83b14b4-b080-43fe-91ec-53c14d2ae9e5&quot; /&gt;&lt;item duration=&quot;30&quot; id=&quot;bf3c525e-b512-4d91-85f1-f55ac5fc1066&quot; parentId=&quot;&quot; level=&quot;1&quot; generateAgendaSlide=&quot;1&quot; showAgendaItem=&quot;1&quot; isBreak=&quot;0&quot; topic=&quot;Unified Evaluation Benchmark&quot; agendaSlideId=&quot;8d5a955c-da9c-4446-975f-6d5e8d74dcb7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2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PageNo"/>
  <p:tag name="EE4P_AGENDAWIZARD_PROPERTIES" val="904.8554/244.7642/8.45685/31.50472"/>
  <p:tag name="EE4P_AGENDAWIZARD_CONTENT" val="/17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Topic"/>
  <p:tag name="EE4P_AGENDAWIZARD_CONTENT" val="/DataSets"/>
  <p:tag name="EE4P_AGENDAWIZARD_PROPERTIES" val="113.5094/244.7642/232.6248/31.50472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ItemNo"/>
  <p:tag name="EE4P_AGENDAWIZARD_CONTENT" val="/2.2"/>
  <p:tag name="EE4P_AGENDAWIZARD_PROPERTIES" val="77.00465/244.7642/31.50472/31.50472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PageNo"/>
  <p:tag name="EE4P_AGENDAWIZARD_PROPERTIES" val="904.8554/208.2594/8.45685/31.50472"/>
  <p:tag name="EE4P_AGENDAWIZARD_CONTENT" val="/101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Topic"/>
  <p:tag name="EE4P_AGENDAWIZARD_CONTENT" val="/Introduction"/>
  <p:tag name="EE4P_AGENDAWIZARD_PROPERTIES" val="113.5094/208.2594/232.6248/31.50472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ItemNo"/>
  <p:tag name="EE4P_AGENDAWIZARD_CONTENT" val="/2.1"/>
  <p:tag name="EE4P_AGENDAWIZARD_PROPERTIES" val="77.00465/208.2594/31.50472/31.50472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Element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Topic"/>
  <p:tag name="EE4P_AGENDAWIZARD_CONTENT" val="/Tracked Robots"/>
  <p:tag name="EE4P_AGENDAWIZARD_PROPERTIES" val="77.00465/244.7642/145.5325/31.50472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cbb84a5-27f5-4c5f-85ee-6f4121daa891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390.7831/8.45685/31.50472"/>
  <p:tag name="EE4P_AGENDAWIZARD_CONTENT" val="/111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390.7831/269.1295/31.50472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390.7831/31.50472/31.50472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PageNo"/>
  <p:tag name="EE4P_AGENDAWIZARD_PROPERTIES" val="904.8554/354.2784/8.45685/31.5048"/>
  <p:tag name="EE4P_AGENDAWIZARD_CONTENT" val="/109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Topic"/>
  <p:tag name="EE4P_AGENDAWIZARD_CONTENT" val="/Limitations"/>
  <p:tag name="EE4P_AGENDAWIZARD_PROPERTIES" val="113.5094/354.2784/232.6248/31.5048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ItemNo"/>
  <p:tag name="EE4P_AGENDAWIZARD_CONTENT" val="/2.5"/>
  <p:tag name="EE4P_AGENDAWIZARD_PROPERTIES" val="77.00465/354.2784/31.50472/31.5048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ItemNo"/>
  <p:tag name="EE4P_AGENDAWIZARD_CONTENT" val="/4"/>
  <p:tag name="EE4P_AGENDAWIZARD_PROPERTIES" val="40.49992/244.7642/31.50472/31.50472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PageNo"/>
  <p:tag name="EE4P_AGENDAWIZARD_PROPERTIES" val="904.8554/317.7736/8.45685/31.50472"/>
  <p:tag name="EE4P_AGENDAWIZARD_CONTENT" val="/107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Topic"/>
  <p:tag name="EE4P_AGENDAWIZARD_CONTENT" val="/Metrics"/>
  <p:tag name="EE4P_AGENDAWIZARD_PROPERTIES" val="113.5094/317.7736/232.6248/31.50472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ItemNo"/>
  <p:tag name="EE4P_AGENDAWIZARD_CONTENT" val="/2.4"/>
  <p:tag name="EE4P_AGENDAWIZARD_PROPERTIES" val="77.00465/317.7736/31.50472/31.50472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PageNo"/>
  <p:tag name="EE4P_AGENDAWIZARD_PROPERTIES" val="904.8554/281.2689/8.45685/31.50472"/>
  <p:tag name="EE4P_AGENDAWIZARD_CONTENT" val="/105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Topic"/>
  <p:tag name="EE4P_AGENDAWIZARD_CONTENT" val="/Methods"/>
  <p:tag name="EE4P_AGENDAWIZARD_PROPERTIES" val="113.5094/281.2689/232.6248/31.50472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ItemNo"/>
  <p:tag name="EE4P_AGENDAWIZARD_CONTENT" val="/2.3"/>
  <p:tag name="EE4P_AGENDAWIZARD_PROPERTIES" val="77.00465/281.2689/31.50472/31.50472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PageNo"/>
  <p:tag name="EE4P_AGENDAWIZARD_PROPERTIES" val="904.8554/244.7642/8.45685/31.50472"/>
  <p:tag name="EE4P_AGENDAWIZARD_CONTENT" val="/103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Topic"/>
  <p:tag name="EE4P_AGENDAWIZARD_CONTENT" val="/DataSets"/>
  <p:tag name="EE4P_AGENDAWIZARD_PROPERTIES" val="113.5094/244.7642/232.6248/31.50472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ItemNo"/>
  <p:tag name="EE4P_AGENDAWIZARD_CONTENT" val="/2.2"/>
  <p:tag name="EE4P_AGENDAWIZARD_PROPERTIES" val="77.00465/244.7642/31.50472/31.50472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Elemen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PageNo"/>
  <p:tag name="EE4P_AGENDAWIZARD_PROPERTIES" val="904.8554/208.2594/8.45685/31.50472"/>
  <p:tag name="EE4P_AGENDAWIZARD_CONTENT" val="/15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PageNo"/>
  <p:tag name="EE4P_AGENDAWIZARD_PROPERTIES" val="904.8554/208.2594/8.45685/31.50472"/>
  <p:tag name="EE4P_AGENDAWIZARD_CONTENT" val="/101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Topic"/>
  <p:tag name="EE4P_AGENDAWIZARD_CONTENT" val="/Introduction"/>
  <p:tag name="EE4P_AGENDAWIZARD_PROPERTIES" val="113.5094/208.2594/232.6248/31.50472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ItemNo"/>
  <p:tag name="EE4P_AGENDAWIZARD_CONTENT" val="/2.1"/>
  <p:tag name="EE4P_AGENDAWIZARD_PROPERTIES" val="77.00465/208.2594/31.50472/31.50472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Topic"/>
  <p:tag name="EE4P_AGENDAWIZARD_CONTENT" val="/Wheeled Robots"/>
  <p:tag name="EE4P_AGENDAWIZARD_PROPERTIES" val="77.00465/208.2594/145.5325/31.50472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960913e-c0c3-4b15-87f1-b7f4570d27a7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390.7831/8.45685/31.50472"/>
  <p:tag name="EE4P_AGENDAWIZARD_CONTENT" val="/111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390.7831/269.1295/31.50472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390.7831/31.50472/31.50472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PageNo"/>
  <p:tag name="EE4P_AGENDAWIZARD_PROPERTIES" val="904.8554/354.2784/8.45685/31.5048"/>
  <p:tag name="EE4P_AGENDAWIZARD_CONTENT" val="/109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Topic"/>
  <p:tag name="EE4P_AGENDAWIZARD_CONTENT" val="/Limitations"/>
  <p:tag name="EE4P_AGENDAWIZARD_PROPERTIES" val="113.5094/354.2784/232.6248/31.5048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ItemNo"/>
  <p:tag name="EE4P_AGENDAWIZARD_CONTENT" val="/2.5"/>
  <p:tag name="EE4P_AGENDAWIZARD_PROPERTIES" val="77.00465/354.2784/31.50472/31.5048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PageNo"/>
  <p:tag name="EE4P_AGENDAWIZARD_PROPERTIES" val="904.8554/317.7736/8.45685/31.50472"/>
  <p:tag name="EE4P_AGENDAWIZARD_CONTENT" val="/107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Topic"/>
  <p:tag name="EE4P_AGENDAWIZARD_CONTENT" val="/Metrics"/>
  <p:tag name="EE4P_AGENDAWIZARD_PROPERTIES" val="113.5094/317.7736/232.6248/31.50472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ItemNo"/>
  <p:tag name="EE4P_AGENDAWIZARD_CONTENT" val="/2.4"/>
  <p:tag name="EE4P_AGENDAWIZARD_PROPERTIES" val="77.00465/317.7736/31.50472/31.5047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ItemNo"/>
  <p:tag name="EE4P_AGENDAWIZARD_CONTENT" val="/3"/>
  <p:tag name="EE4P_AGENDAWIZARD_PROPERTIES" val="40.49992/208.2594/31.50472/31.50472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PageNo"/>
  <p:tag name="EE4P_AGENDAWIZARD_PROPERTIES" val="904.8554/281.2689/8.45685/31.50472"/>
  <p:tag name="EE4P_AGENDAWIZARD_CONTENT" val="/105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Topic"/>
  <p:tag name="EE4P_AGENDAWIZARD_CONTENT" val="/Methods"/>
  <p:tag name="EE4P_AGENDAWIZARD_PROPERTIES" val="113.5094/281.2689/232.6248/31.50472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ItemNo"/>
  <p:tag name="EE4P_AGENDAWIZARD_CONTENT" val="/2.3"/>
  <p:tag name="EE4P_AGENDAWIZARD_PROPERTIES" val="77.00465/281.2689/31.50472/31.50472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Element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PageNo"/>
  <p:tag name="EE4P_AGENDAWIZARD_PROPERTIES" val="904.8554/244.7642/8.45685/31.50472"/>
  <p:tag name="EE4P_AGENDAWIZARD_CONTENT" val="/103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Topic"/>
  <p:tag name="EE4P_AGENDAWIZARD_CONTENT" val="/DataSets"/>
  <p:tag name="EE4P_AGENDAWIZARD_PROPERTIES" val="113.5094/244.7642/232.6248/31.50472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ItemNo"/>
  <p:tag name="EE4P_AGENDAWIZARD_CONTENT" val="/2.2"/>
  <p:tag name="EE4P_AGENDAWIZARD_PROPERTIES" val="77.00465/244.7642/31.50472/31.50472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PageNo"/>
  <p:tag name="EE4P_AGENDAWIZARD_PROPERTIES" val="904.8554/208.2594/8.45685/31.50472"/>
  <p:tag name="EE4P_AGENDAWIZARD_CONTENT" val="/101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Topic"/>
  <p:tag name="EE4P_AGENDAWIZARD_CONTENT" val="/Introduction"/>
  <p:tag name="EE4P_AGENDAWIZARD_PROPERTIES" val="113.5094/208.2594/232.6248/31.50472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ItemNo"/>
  <p:tag name="EE4P_AGENDAWIZARD_CONTENT" val="/2.1"/>
  <p:tag name="EE4P_AGENDAWIZARD_PROPERTIES" val="77.00465/208.2594/31.50472/31.5047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PageNo"/>
  <p:tag name="EE4P_AGENDAWIZARD_PROPERTIES" val="904.8554/171.7547/8.45685/31.50472"/>
  <p:tag name="EE4P_AGENDAWIZARD_CONTENT" val="/13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c41b670-fd68-4e64-a967-d426eff41da0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390.7831/8.45685/31.50472"/>
  <p:tag name="EE4P_AGENDAWIZARD_CONTENT" val="/111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390.7831/269.1295/31.5047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Topic"/>
  <p:tag name="EE4P_AGENDAWIZARD_CONTENT" val="/Fixed-base Robots"/>
  <p:tag name="EE4P_AGENDAWIZARD_PROPERTIES" val="77.00465/171.7547/145.5325/31.50472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390.7831/31.50472/31.50472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PageNo"/>
  <p:tag name="EE4P_AGENDAWIZARD_PROPERTIES" val="904.8554/354.2784/8.45685/31.5048"/>
  <p:tag name="EE4P_AGENDAWIZARD_CONTENT" val="/109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Topic"/>
  <p:tag name="EE4P_AGENDAWIZARD_CONTENT" val="/Limitations"/>
  <p:tag name="EE4P_AGENDAWIZARD_PROPERTIES" val="113.5094/354.2784/232.6248/31.5048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ItemNo"/>
  <p:tag name="EE4P_AGENDAWIZARD_CONTENT" val="/2.5"/>
  <p:tag name="EE4P_AGENDAWIZARD_PROPERTIES" val="77.00465/354.2784/31.50472/31.5048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PageNo"/>
  <p:tag name="EE4P_AGENDAWIZARD_PROPERTIES" val="904.8554/317.7736/8.45685/31.50472"/>
  <p:tag name="EE4P_AGENDAWIZARD_CONTENT" val="/107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Topic"/>
  <p:tag name="EE4P_AGENDAWIZARD_CONTENT" val="/Metrics"/>
  <p:tag name="EE4P_AGENDAWIZARD_PROPERTIES" val="113.5094/317.7736/232.6248/31.50472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ItemNo"/>
  <p:tag name="EE4P_AGENDAWIZARD_CONTENT" val="/2.4"/>
  <p:tag name="EE4P_AGENDAWIZARD_PROPERTIES" val="77.00465/317.7736/31.50472/31.50472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Element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PageNo"/>
  <p:tag name="EE4P_AGENDAWIZARD_PROPERTIES" val="904.8554/281.2689/8.45685/31.50472"/>
  <p:tag name="EE4P_AGENDAWIZARD_CONTENT" val="/105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Topic"/>
  <p:tag name="EE4P_AGENDAWIZARD_CONTENT" val="/Methods"/>
  <p:tag name="EE4P_AGENDAWIZARD_PROPERTIES" val="113.5094/281.2689/232.6248/31.5047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ItemNo"/>
  <p:tag name="EE4P_AGENDAWIZARD_CONTENT" val="/2"/>
  <p:tag name="EE4P_AGENDAWIZARD_PROPERTIES" val="40.49992/171.7547/31.50472/31.50472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ItemNo"/>
  <p:tag name="EE4P_AGENDAWIZARD_CONTENT" val="/2.3"/>
  <p:tag name="EE4P_AGENDAWIZARD_PROPERTIES" val="77.00465/281.2689/31.50472/31.50472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PageNo"/>
  <p:tag name="EE4P_AGENDAWIZARD_PROPERTIES" val="904.8554/244.7642/8.45685/31.50472"/>
  <p:tag name="EE4P_AGENDAWIZARD_CONTENT" val="/103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Topic"/>
  <p:tag name="EE4P_AGENDAWIZARD_CONTENT" val="/DataSets"/>
  <p:tag name="EE4P_AGENDAWIZARD_PROPERTIES" val="113.5094/244.7642/232.6248/31.50472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ItemNo"/>
  <p:tag name="EE4P_AGENDAWIZARD_CONTENT" val="/2.2"/>
  <p:tag name="EE4P_AGENDAWIZARD_PROPERTIES" val="77.00465/244.7642/31.50472/31.50472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PageNo"/>
  <p:tag name="EE4P_AGENDAWIZARD_PROPERTIES" val="904.8554/208.2594/8.45685/31.50472"/>
  <p:tag name="EE4P_AGENDAWIZARD_CONTENT" val="/101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Topic"/>
  <p:tag name="EE4P_AGENDAWIZARD_CONTENT" val="/Introduction"/>
  <p:tag name="EE4P_AGENDAWIZARD_PROPERTIES" val="113.5094/208.2594/232.6248/31.50472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ItemNo"/>
  <p:tag name="EE4P_AGENDAWIZARD_CONTENT" val="/2.1"/>
  <p:tag name="EE4P_AGENDAWIZARD_PROPERTIES" val="77.00465/208.2594/31.50472/31.50472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Element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bf3aa1c-5437-4654-81f6-15b42928d75c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390.7831/8.45685/31.50472"/>
  <p:tag name="EE4P_AGENDAWIZARD_CONTENT" val="/111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390.7831/269.1295/31.50472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390.7831/31.50472/31.50472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PageNo"/>
  <p:tag name="EE4P_AGENDAWIZARD_PROPERTIES" val="904.8554/354.2784/8.45685/31.5048"/>
  <p:tag name="EE4P_AGENDAWIZARD_CONTENT" val="/109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Topic"/>
  <p:tag name="EE4P_AGENDAWIZARD_CONTENT" val="/Limitations"/>
  <p:tag name="EE4P_AGENDAWIZARD_PROPERTIES" val="113.5094/354.2784/232.6248/31.504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33.3821/31.5047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PageNo"/>
  <p:tag name="EE4P_AGENDAWIZARD_PROPERTIES" val="904.8554/135.25/8.45685/31.50472"/>
  <p:tag name="EE4P_AGENDAWIZARD_CONTENT" val="/11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ItemNo"/>
  <p:tag name="EE4P_AGENDAWIZARD_CONTENT" val="/2.5"/>
  <p:tag name="EE4P_AGENDAWIZARD_PROPERTIES" val="77.00465/354.2784/31.50472/31.5048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Element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PageNo"/>
  <p:tag name="EE4P_AGENDAWIZARD_PROPERTIES" val="904.8554/317.7736/8.45685/31.50472"/>
  <p:tag name="EE4P_AGENDAWIZARD_CONTENT" val="/107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Topic"/>
  <p:tag name="EE4P_AGENDAWIZARD_CONTENT" val="/Metrics"/>
  <p:tag name="EE4P_AGENDAWIZARD_PROPERTIES" val="113.5094/317.7736/232.6248/31.50472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ItemNo"/>
  <p:tag name="EE4P_AGENDAWIZARD_CONTENT" val="/2.4"/>
  <p:tag name="EE4P_AGENDAWIZARD_PROPERTIES" val="77.00465/317.7736/31.50472/31.50472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PageNo"/>
  <p:tag name="EE4P_AGENDAWIZARD_PROPERTIES" val="904.8554/281.2689/8.45685/31.50472"/>
  <p:tag name="EE4P_AGENDAWIZARD_CONTENT" val="/105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Topic"/>
  <p:tag name="EE4P_AGENDAWIZARD_CONTENT" val="/Methods"/>
  <p:tag name="EE4P_AGENDAWIZARD_PROPERTIES" val="113.5094/281.2689/232.6248/31.50472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ItemNo"/>
  <p:tag name="EE4P_AGENDAWIZARD_CONTENT" val="/2.3"/>
  <p:tag name="EE4P_AGENDAWIZARD_PROPERTIES" val="77.00465/281.2689/31.50472/31.50472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PageNo"/>
  <p:tag name="EE4P_AGENDAWIZARD_PROPERTIES" val="904.8554/244.7642/8.45685/31.50472"/>
  <p:tag name="EE4P_AGENDAWIZARD_CONTENT" val="/103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Topic"/>
  <p:tag name="EE4P_AGENDAWIZARD_CONTENT" val="/DataSets"/>
  <p:tag name="EE4P_AGENDAWIZARD_PROPERTIES" val="113.5094/244.7642/232.6248/31.5047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Topic"/>
  <p:tag name="EE4P_AGENDAWIZARD_CONTENT" val="/Introduction"/>
  <p:tag name="EE4P_AGENDAWIZARD_PROPERTIES" val="77.00465/135.25/145.5325/31.50472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ItemNo"/>
  <p:tag name="EE4P_AGENDAWIZARD_CONTENT" val="/2.2"/>
  <p:tag name="EE4P_AGENDAWIZARD_PROPERTIES" val="77.00465/244.7642/31.50472/31.50472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PageNo"/>
  <p:tag name="EE4P_AGENDAWIZARD_PROPERTIES" val="904.8554/208.2594/8.45685/31.50472"/>
  <p:tag name="EE4P_AGENDAWIZARD_CONTENT" val="/101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Topic"/>
  <p:tag name="EE4P_AGENDAWIZARD_CONTENT" val="/Introduction"/>
  <p:tag name="EE4P_AGENDAWIZARD_PROPERTIES" val="113.5094/208.2594/232.6248/31.50472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ItemNo"/>
  <p:tag name="EE4P_AGENDAWIZARD_CONTENT" val="/2.1"/>
  <p:tag name="EE4P_AGENDAWIZARD_PROPERTIES" val="77.00465/208.2594/31.50472/31.50472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ItemNo"/>
  <p:tag name="EE4P_AGENDAWIZARD_CONTENT" val="/1"/>
  <p:tag name="EE4P_AGENDAWIZARD_PROPERTIES" val="40.49992/135.25/31.50472/31.50472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3c7eef6-3e74-493e-a245-773c169f4591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390.7831/8.45685/31.50472"/>
  <p:tag name="EE4P_AGENDAWIZARD_CONTENT" val="/111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390.7831/269.1295/31.50472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390.7831/31.50472/31.50472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Element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PageNo"/>
  <p:tag name="EE4P_AGENDAWIZARD_PROPERTIES" val="904.8554/354.2784/8.45685/31.5048"/>
  <p:tag name="EE4P_AGENDAWIZARD_CONTENT" val="/109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Topic"/>
  <p:tag name="EE4P_AGENDAWIZARD_CONTENT" val="/Limitations"/>
  <p:tag name="EE4P_AGENDAWIZARD_PROPERTIES" val="113.5094/354.2784/232.6248/31.5048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ItemNo"/>
  <p:tag name="EE4P_AGENDAWIZARD_CONTENT" val="/2.5"/>
  <p:tag name="EE4P_AGENDAWIZARD_PROPERTIES" val="77.00465/354.2784/31.50472/31.5048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PageNo"/>
  <p:tag name="EE4P_AGENDAWIZARD_PROPERTIES" val="904.8554/317.7736/8.45685/31.50472"/>
  <p:tag name="EE4P_AGENDAWIZARD_CONTENT" val="/10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Topic"/>
  <p:tag name="EE4P_AGENDAWIZARD_CONTENT" val="/Metrics"/>
  <p:tag name="EE4P_AGENDAWIZARD_PROPERTIES" val="113.5094/317.7736/232.6248/31.50472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ItemNo"/>
  <p:tag name="EE4P_AGENDAWIZARD_CONTENT" val="/2.4"/>
  <p:tag name="EE4P_AGENDAWIZARD_PROPERTIES" val="77.00465/317.7736/31.50472/31.50472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PageNo"/>
  <p:tag name="EE4P_AGENDAWIZARD_PROPERTIES" val="904.8554/281.2689/8.45685/31.50472"/>
  <p:tag name="EE4P_AGENDAWIZARD_CONTENT" val="/105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Topic"/>
  <p:tag name="EE4P_AGENDAWIZARD_CONTENT" val="/Methods"/>
  <p:tag name="EE4P_AGENDAWIZARD_PROPERTIES" val="113.5094/281.2689/232.6248/31.50472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ItemNo"/>
  <p:tag name="EE4P_AGENDAWIZARD_CONTENT" val="/2.3"/>
  <p:tag name="EE4P_AGENDAWIZARD_PROPERTIES" val="77.00465/281.2689/31.50472/31.50472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PageNo"/>
  <p:tag name="EE4P_AGENDAWIZARD_PROPERTIES" val="904.8554/244.7642/8.45685/31.50472"/>
  <p:tag name="EE4P_AGENDAWIZARD_CONTENT" val="/103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Topic"/>
  <p:tag name="EE4P_AGENDAWIZARD_CONTENT" val="/DataSets"/>
  <p:tag name="EE4P_AGENDAWIZARD_PROPERTIES" val="113.5094/244.7642/232.6248/31.50472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ItemNo"/>
  <p:tag name="EE4P_AGENDAWIZARD_CONTENT" val="/2.2"/>
  <p:tag name="EE4P_AGENDAWIZARD_PROPERTIES" val="77.00465/244.7642/31.50472/31.50472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PageNo"/>
  <p:tag name="EE4P_AGENDAWIZARD_PROPERTIES" val="904.8554/208.2594/8.45685/31.50472"/>
  <p:tag name="EE4P_AGENDAWIZARD_CONTENT" val="/101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Topic"/>
  <p:tag name="EE4P_AGENDAWIZARD_CONTENT" val="/Introduction"/>
  <p:tag name="EE4P_AGENDAWIZARD_PROPERTIES" val="113.5094/208.2594/232.6248/31.5047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cbb84a5-27f5-4c5f-85ee-6f4121daa891_ItemNo"/>
  <p:tag name="EE4P_AGENDAWIZARD_CONTENT" val="/2.1"/>
  <p:tag name="EE4P_AGENDAWIZARD_PROPERTIES" val="77.00465/208.2594/31.50472/31.50472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a97632e-69ec-43e2-a47a-f6f29ab47838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PageNo"/>
  <p:tag name="EE4P_AGENDAWIZARD_PROPERTIES" val="904.8554/427.2879/8.45685/31.50472"/>
  <p:tag name="EE4P_AGENDAWIZARD_CONTENT" val="/12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Topic"/>
  <p:tag name="EE4P_AGENDAWIZARD_CONTENT" val="/Modular Approaches"/>
  <p:tag name="EE4P_AGENDAWIZARD_PROPERTIES" val="113.5094/427.2879/232.6248/31.50472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ItemNo"/>
  <p:tag name="EE4P_AGENDAWIZARD_CONTENT" val="/3.6"/>
  <p:tag name="EE4P_AGENDAWIZARD_PROPERTIES" val="77.00465/427.2879/31.50472/31.50472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PageNo"/>
  <p:tag name="EE4P_AGENDAWIZARD_PROPERTIES" val="904.8554/390.7831/8.45685/31.50472"/>
  <p:tag name="EE4P_AGENDAWIZARD_CONTENT" val="/121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Topic"/>
  <p:tag name="EE4P_AGENDAWIZARD_CONTENT" val="/End-to-End Approaches"/>
  <p:tag name="EE4P_AGENDAWIZARD_PROPERTIES" val="113.5094/390.7831/232.6248/31.50472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ItemNo"/>
  <p:tag name="EE4P_AGENDAWIZARD_CONTENT" val="/3.5"/>
  <p:tag name="EE4P_AGENDAWIZARD_PROPERTIES" val="77.00465/390.7831/31.50472/31.50472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PageNo"/>
  <p:tag name="EE4P_AGENDAWIZARD_PROPERTIES" val="904.8554/354.2784/8.45685/31.5048"/>
  <p:tag name="EE4P_AGENDAWIZARD_CONTENT" val="/119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Topic"/>
  <p:tag name="EE4P_AGENDAWIZARD_CONTENT" val="/Language-Guided Grasping"/>
  <p:tag name="EE4P_AGENDAWIZARD_PROPERTIES" val="113.5094/354.2784/232.6248/31.5048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ItemNo"/>
  <p:tag name="EE4P_AGENDAWIZARD_CONTENT" val="/3.4"/>
  <p:tag name="EE4P_AGENDAWIZARD_PROPERTIES" val="77.00465/354.2784/31.50472/31.5048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PageNo"/>
  <p:tag name="EE4P_AGENDAWIZARD_PROPERTIES" val="904.8554/317.7736/8.45685/31.50472"/>
  <p:tag name="EE4P_AGENDAWIZARD_CONTENT" val="/117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Topic"/>
  <p:tag name="EE4P_AGENDAWIZARD_CONTENT" val="/Datasets"/>
  <p:tag name="EE4P_AGENDAWIZARD_PROPERTIES" val="113.5094/317.7736/232.6248/31.5047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efdf9b6-3494-4f4d-b961-6949580c130d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ItemNo"/>
  <p:tag name="EE4P_AGENDAWIZARD_CONTENT" val="/3.3"/>
  <p:tag name="EE4P_AGENDAWIZARD_PROPERTIES" val="77.00465/317.7736/31.50472/31.50472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PageNo"/>
  <p:tag name="EE4P_AGENDAWIZARD_PROPERTIES" val="904.8554/281.2689/8.45685/31.50472"/>
  <p:tag name="EE4P_AGENDAWIZARD_CONTENT" val="/115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Topic"/>
  <p:tag name="EE4P_AGENDAWIZARD_CONTENT" val="/Gripper"/>
  <p:tag name="EE4P_AGENDAWIZARD_PROPERTIES" val="113.5094/281.2689/232.6248/31.50472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ItemNo"/>
  <p:tag name="EE4P_AGENDAWIZARD_CONTENT" val="/3.2"/>
  <p:tag name="EE4P_AGENDAWIZARD_PROPERTIES" val="77.00465/281.2689/31.50472/31.50472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PageNo"/>
  <p:tag name="EE4P_AGENDAWIZARD_PROPERTIES" val="904.8554/244.7642/8.45685/31.50472"/>
  <p:tag name="EE4P_AGENDAWIZARD_CONTENT" val="/113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Topic"/>
  <p:tag name="EE4P_AGENDAWIZARD_CONTENT" val="/Introduction"/>
  <p:tag name="EE4P_AGENDAWIZARD_PROPERTIES" val="113.5094/244.7642/232.6248/31.50472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ItemNo"/>
  <p:tag name="EE4P_AGENDAWIZARD_CONTENT" val="/3.1"/>
  <p:tag name="EE4P_AGENDAWIZARD_PROPERTIES" val="77.00465/244.7642/31.50472/31.50472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Element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208.2594/8.45685/31.50472"/>
  <p:tag name="EE4P_AGENDAWIZARD_CONTENT" val="/111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208.2594/269.1295/31.5047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PageNo"/>
  <p:tag name="EE4P_AGENDAWIZARD_PROPERTIES" val="904.8554/354.2784/8.45685/31.5048"/>
  <p:tag name="EE4P_AGENDAWIZARD_CONTENT" val="/23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208.2594/31.50472/31.50472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a1c1820-914e-4525-b41c-30a13a4a07c8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PageNo"/>
  <p:tag name="EE4P_AGENDAWIZARD_PROPERTIES" val="904.8554/427.2879/8.45685/31.50472"/>
  <p:tag name="EE4P_AGENDAWIZARD_CONTENT" val="/12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Topic"/>
  <p:tag name="EE4P_AGENDAWIZARD_CONTENT" val="/Biomimetic Robots"/>
  <p:tag name="EE4P_AGENDAWIZARD_PROPERTIES" val="77.00465/354.2784/145.5325/31.5048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Topic"/>
  <p:tag name="EE4P_AGENDAWIZARD_CONTENT" val="/Modular Approaches"/>
  <p:tag name="EE4P_AGENDAWIZARD_PROPERTIES" val="113.5094/427.2879/232.6248/31.50472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ItemNo"/>
  <p:tag name="EE4P_AGENDAWIZARD_CONTENT" val="/3.6"/>
  <p:tag name="EE4P_AGENDAWIZARD_PROPERTIES" val="77.00465/427.2879/31.50472/31.50472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PageNo"/>
  <p:tag name="EE4P_AGENDAWIZARD_PROPERTIES" val="904.8554/390.7831/8.45685/31.50472"/>
  <p:tag name="EE4P_AGENDAWIZARD_CONTENT" val="/121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Topic"/>
  <p:tag name="EE4P_AGENDAWIZARD_CONTENT" val="/End-to-End Approaches"/>
  <p:tag name="EE4P_AGENDAWIZARD_PROPERTIES" val="113.5094/390.7831/232.6248/31.50472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ItemNo"/>
  <p:tag name="EE4P_AGENDAWIZARD_CONTENT" val="/3.5"/>
  <p:tag name="EE4P_AGENDAWIZARD_PROPERTIES" val="77.00465/390.7831/31.50472/31.50472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PageNo"/>
  <p:tag name="EE4P_AGENDAWIZARD_PROPERTIES" val="904.8554/354.2784/8.45685/31.5048"/>
  <p:tag name="EE4P_AGENDAWIZARD_CONTENT" val="/119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Topic"/>
  <p:tag name="EE4P_AGENDAWIZARD_CONTENT" val="/Language-Guided Grasping"/>
  <p:tag name="EE4P_AGENDAWIZARD_PROPERTIES" val="113.5094/354.2784/232.6248/31.5048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ItemNo"/>
  <p:tag name="EE4P_AGENDAWIZARD_CONTENT" val="/3.4"/>
  <p:tag name="EE4P_AGENDAWIZARD_PROPERTIES" val="77.00465/354.2784/31.50472/31.5048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PageNo"/>
  <p:tag name="EE4P_AGENDAWIZARD_PROPERTIES" val="904.8554/317.7736/8.45685/31.50472"/>
  <p:tag name="EE4P_AGENDAWIZARD_CONTENT" val="/117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Topic"/>
  <p:tag name="EE4P_AGENDAWIZARD_CONTENT" val="/Datasets"/>
  <p:tag name="EE4P_AGENDAWIZARD_PROPERTIES" val="113.5094/317.7736/232.6248/31.5047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ItemNo"/>
  <p:tag name="EE4P_AGENDAWIZARD_CONTENT" val="/7"/>
  <p:tag name="EE4P_AGENDAWIZARD_PROPERTIES" val="40.49992/354.2784/31.50472/31.5048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ItemNo"/>
  <p:tag name="EE4P_AGENDAWIZARD_CONTENT" val="/3.3"/>
  <p:tag name="EE4P_AGENDAWIZARD_PROPERTIES" val="77.00465/317.7736/31.50472/31.50472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PageNo"/>
  <p:tag name="EE4P_AGENDAWIZARD_PROPERTIES" val="904.8554/281.2689/8.45685/31.50472"/>
  <p:tag name="EE4P_AGENDAWIZARD_CONTENT" val="/115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Topic"/>
  <p:tag name="EE4P_AGENDAWIZARD_CONTENT" val="/Gripper"/>
  <p:tag name="EE4P_AGENDAWIZARD_PROPERTIES" val="113.5094/281.2689/232.6248/31.50472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ItemNo"/>
  <p:tag name="EE4P_AGENDAWIZARD_CONTENT" val="/3.2"/>
  <p:tag name="EE4P_AGENDAWIZARD_PROPERTIES" val="77.00465/281.2689/31.50472/31.50472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Element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PageNo"/>
  <p:tag name="EE4P_AGENDAWIZARD_PROPERTIES" val="904.8554/244.7642/8.45685/31.50472"/>
  <p:tag name="EE4P_AGENDAWIZARD_CONTENT" val="/113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Topic"/>
  <p:tag name="EE4P_AGENDAWIZARD_CONTENT" val="/Introduction"/>
  <p:tag name="EE4P_AGENDAWIZARD_PROPERTIES" val="113.5094/244.7642/232.6248/31.50472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ItemNo"/>
  <p:tag name="EE4P_AGENDAWIZARD_CONTENT" val="/3.1"/>
  <p:tag name="EE4P_AGENDAWIZARD_PROPERTIES" val="77.00465/244.7642/31.50472/31.50472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208.2594/8.45685/31.50472"/>
  <p:tag name="EE4P_AGENDAWIZARD_CONTENT" val="/111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208.2594/269.1295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PageNo"/>
  <p:tag name="EE4P_AGENDAWIZARD_PROPERTIES" val="904.8554/317.7736/8.45685/31.50472"/>
  <p:tag name="EE4P_AGENDAWIZARD_CONTENT" val="/21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208.2594/31.50472/31.50472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35312c2-b13d-480a-b122-ef828e839690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PageNo"/>
  <p:tag name="EE4P_AGENDAWIZARD_PROPERTIES" val="904.8554/427.2879/8.45685/31.50472"/>
  <p:tag name="EE4P_AGENDAWIZARD_CONTENT" val="/12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Topic"/>
  <p:tag name="EE4P_AGENDAWIZARD_CONTENT" val="/Humanoid Robots"/>
  <p:tag name="EE4P_AGENDAWIZARD_PROPERTIES" val="77.00465/317.7736/145.5325/31.50472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Topic"/>
  <p:tag name="EE4P_AGENDAWIZARD_CONTENT" val="/Modular Approaches"/>
  <p:tag name="EE4P_AGENDAWIZARD_PROPERTIES" val="113.5094/427.2879/232.6248/31.50472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ItemNo"/>
  <p:tag name="EE4P_AGENDAWIZARD_CONTENT" val="/3.6"/>
  <p:tag name="EE4P_AGENDAWIZARD_PROPERTIES" val="77.00465/427.2879/31.50472/31.50472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PageNo"/>
  <p:tag name="EE4P_AGENDAWIZARD_PROPERTIES" val="904.8554/390.7831/8.45685/31.50472"/>
  <p:tag name="EE4P_AGENDAWIZARD_CONTENT" val="/121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Topic"/>
  <p:tag name="EE4P_AGENDAWIZARD_CONTENT" val="/End-to-End Approaches"/>
  <p:tag name="EE4P_AGENDAWIZARD_PROPERTIES" val="113.5094/390.7831/232.6248/31.50472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ItemNo"/>
  <p:tag name="EE4P_AGENDAWIZARD_CONTENT" val="/3.5"/>
  <p:tag name="EE4P_AGENDAWIZARD_PROPERTIES" val="77.00465/390.7831/31.50472/31.50472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PageNo"/>
  <p:tag name="EE4P_AGENDAWIZARD_PROPERTIES" val="904.8554/354.2784/8.45685/31.5048"/>
  <p:tag name="EE4P_AGENDAWIZARD_CONTENT" val="/119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Topic"/>
  <p:tag name="EE4P_AGENDAWIZARD_CONTENT" val="/Language-Guided Grasping"/>
  <p:tag name="EE4P_AGENDAWIZARD_PROPERTIES" val="113.5094/354.2784/232.6248/31.5048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ItemNo"/>
  <p:tag name="EE4P_AGENDAWIZARD_CONTENT" val="/3.4"/>
  <p:tag name="EE4P_AGENDAWIZARD_PROPERTIES" val="77.00465/354.2784/31.50472/31.5048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PageNo"/>
  <p:tag name="EE4P_AGENDAWIZARD_PROPERTIES" val="904.8554/317.7736/8.45685/31.50472"/>
  <p:tag name="EE4P_AGENDAWIZARD_CONTENT" val="/117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Topic"/>
  <p:tag name="EE4P_AGENDAWIZARD_CONTENT" val="/Datasets"/>
  <p:tag name="EE4P_AGENDAWIZARD_PROPERTIES" val="113.5094/317.7736/232.6248/31.5047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ItemNo"/>
  <p:tag name="EE4P_AGENDAWIZARD_CONTENT" val="/6"/>
  <p:tag name="EE4P_AGENDAWIZARD_PROPERTIES" val="40.49992/317.7736/31.50472/31.50472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ItemNo"/>
  <p:tag name="EE4P_AGENDAWIZARD_CONTENT" val="/3.3"/>
  <p:tag name="EE4P_AGENDAWIZARD_PROPERTIES" val="77.00465/317.7736/31.50472/31.50472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Element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PageNo"/>
  <p:tag name="EE4P_AGENDAWIZARD_PROPERTIES" val="904.8554/281.2689/8.45685/31.50472"/>
  <p:tag name="EE4P_AGENDAWIZARD_CONTENT" val="/115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Topic"/>
  <p:tag name="EE4P_AGENDAWIZARD_CONTENT" val="/Gripper"/>
  <p:tag name="EE4P_AGENDAWIZARD_PROPERTIES" val="113.5094/281.2689/232.6248/31.50472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ItemNo"/>
  <p:tag name="EE4P_AGENDAWIZARD_CONTENT" val="/3.2"/>
  <p:tag name="EE4P_AGENDAWIZARD_PROPERTIES" val="77.00465/281.2689/31.50472/31.50472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PageNo"/>
  <p:tag name="EE4P_AGENDAWIZARD_PROPERTIES" val="904.8554/244.7642/8.45685/31.50472"/>
  <p:tag name="EE4P_AGENDAWIZARD_CONTENT" val="/113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Topic"/>
  <p:tag name="EE4P_AGENDAWIZARD_CONTENT" val="/Introduction"/>
  <p:tag name="EE4P_AGENDAWIZARD_PROPERTIES" val="113.5094/244.7642/232.6248/31.50472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ItemNo"/>
  <p:tag name="EE4P_AGENDAWIZARD_CONTENT" val="/3.1"/>
  <p:tag name="EE4P_AGENDAWIZARD_PROPERTIES" val="77.00465/244.7642/31.50472/31.50472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208.2594/8.45685/31.50472"/>
  <p:tag name="EE4P_AGENDAWIZARD_CONTENT" val="/111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208.2594/269.1295/31.5047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PageNo"/>
  <p:tag name="EE4P_AGENDAWIZARD_PROPERTIES" val="904.8554/281.2689/8.45685/31.50472"/>
  <p:tag name="EE4P_AGENDAWIZARD_CONTENT" val="/19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208.2594/31.50472/31.50472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1aaad74-1b3f-4ca1-8828-95a4ba0041a8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PageNo"/>
  <p:tag name="EE4P_AGENDAWIZARD_PROPERTIES" val="904.8554/427.2879/8.45685/31.50472"/>
  <p:tag name="EE4P_AGENDAWIZARD_CONTENT" val="/12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Topic"/>
  <p:tag name="EE4P_AGENDAWIZARD_CONTENT" val="/Quadruped Robots"/>
  <p:tag name="EE4P_AGENDAWIZARD_PROPERTIES" val="77.00465/281.2689/145.5325/31.50472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Topic"/>
  <p:tag name="EE4P_AGENDAWIZARD_CONTENT" val="/Modular Approaches"/>
  <p:tag name="EE4P_AGENDAWIZARD_PROPERTIES" val="113.5094/427.2879/232.6248/31.50472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ItemNo"/>
  <p:tag name="EE4P_AGENDAWIZARD_CONTENT" val="/3.6"/>
  <p:tag name="EE4P_AGENDAWIZARD_PROPERTIES" val="77.00465/427.2879/31.50472/31.50472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PageNo"/>
  <p:tag name="EE4P_AGENDAWIZARD_PROPERTIES" val="904.8554/390.7831/8.45685/31.50472"/>
  <p:tag name="EE4P_AGENDAWIZARD_CONTENT" val="/121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Topic"/>
  <p:tag name="EE4P_AGENDAWIZARD_CONTENT" val="/End-to-End Approaches"/>
  <p:tag name="EE4P_AGENDAWIZARD_PROPERTIES" val="113.5094/390.7831/232.6248/31.50472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ItemNo"/>
  <p:tag name="EE4P_AGENDAWIZARD_CONTENT" val="/3.5"/>
  <p:tag name="EE4P_AGENDAWIZARD_PROPERTIES" val="77.00465/390.7831/31.50472/31.50472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PageNo"/>
  <p:tag name="EE4P_AGENDAWIZARD_PROPERTIES" val="904.8554/354.2784/8.45685/31.5048"/>
  <p:tag name="EE4P_AGENDAWIZARD_CONTENT" val="/119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Topic"/>
  <p:tag name="EE4P_AGENDAWIZARD_CONTENT" val="/Language-Guided Grasping"/>
  <p:tag name="EE4P_AGENDAWIZARD_PROPERTIES" val="113.5094/354.2784/232.6248/31.5048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ItemNo"/>
  <p:tag name="EE4P_AGENDAWIZARD_CONTENT" val="/3.4"/>
  <p:tag name="EE4P_AGENDAWIZARD_PROPERTIES" val="77.00465/354.2784/31.50472/31.5048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Element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PageNo"/>
  <p:tag name="EE4P_AGENDAWIZARD_PROPERTIES" val="904.8554/317.7736/8.45685/31.50472"/>
  <p:tag name="EE4P_AGENDAWIZARD_CONTENT" val="/11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ItemNo"/>
  <p:tag name="EE4P_AGENDAWIZARD_CONTENT" val="/5"/>
  <p:tag name="EE4P_AGENDAWIZARD_PROPERTIES" val="40.49992/281.2689/31.50472/31.50472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Topic"/>
  <p:tag name="EE4P_AGENDAWIZARD_CONTENT" val="/Datasets"/>
  <p:tag name="EE4P_AGENDAWIZARD_PROPERTIES" val="113.5094/317.7736/232.6248/31.50472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ItemNo"/>
  <p:tag name="EE4P_AGENDAWIZARD_CONTENT" val="/3.3"/>
  <p:tag name="EE4P_AGENDAWIZARD_PROPERTIES" val="77.00465/317.7736/31.50472/31.50472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PageNo"/>
  <p:tag name="EE4P_AGENDAWIZARD_PROPERTIES" val="904.8554/281.2689/8.45685/31.50472"/>
  <p:tag name="EE4P_AGENDAWIZARD_CONTENT" val="/115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Topic"/>
  <p:tag name="EE4P_AGENDAWIZARD_CONTENT" val="/Gripper"/>
  <p:tag name="EE4P_AGENDAWIZARD_PROPERTIES" val="113.5094/281.2689/232.6248/31.50472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ItemNo"/>
  <p:tag name="EE4P_AGENDAWIZARD_CONTENT" val="/3.2"/>
  <p:tag name="EE4P_AGENDAWIZARD_PROPERTIES" val="77.00465/281.2689/31.50472/31.50472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PageNo"/>
  <p:tag name="EE4P_AGENDAWIZARD_PROPERTIES" val="904.8554/244.7642/8.45685/31.50472"/>
  <p:tag name="EE4P_AGENDAWIZARD_CONTENT" val="/113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Topic"/>
  <p:tag name="EE4P_AGENDAWIZARD_CONTENT" val="/Introduction"/>
  <p:tag name="EE4P_AGENDAWIZARD_PROPERTIES" val="113.5094/244.7642/232.6248/31.50472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ItemNo"/>
  <p:tag name="EE4P_AGENDAWIZARD_CONTENT" val="/3.1"/>
  <p:tag name="EE4P_AGENDAWIZARD_PROPERTIES" val="77.00465/244.7642/31.50472/31.50472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208.2594/8.45685/31.50472"/>
  <p:tag name="EE4P_AGENDAWIZARD_CONTENT" val="/111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208.2594/269.1295/31.5047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PageNo"/>
  <p:tag name="EE4P_AGENDAWIZARD_PROPERTIES" val="904.8554/244.7642/8.45685/31.50472"/>
  <p:tag name="EE4P_AGENDAWIZARD_CONTENT" val="/17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208.2594/31.50472/31.50472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4700447-82fe-436d-ba5c-cd5d3ff38b60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PageNo"/>
  <p:tag name="EE4P_AGENDAWIZARD_PROPERTIES" val="904.8554/427.2879/8.45685/31.50472"/>
  <p:tag name="EE4P_AGENDAWIZARD_CONTENT" val="/12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Topic"/>
  <p:tag name="EE4P_AGENDAWIZARD_CONTENT" val="/Tracked Robots"/>
  <p:tag name="EE4P_AGENDAWIZARD_PROPERTIES" val="77.00465/244.7642/145.5325/31.50472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Topic"/>
  <p:tag name="EE4P_AGENDAWIZARD_CONTENT" val="/Modular Approaches"/>
  <p:tag name="EE4P_AGENDAWIZARD_PROPERTIES" val="113.5094/427.2879/232.6248/31.50472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ItemNo"/>
  <p:tag name="EE4P_AGENDAWIZARD_CONTENT" val="/3.6"/>
  <p:tag name="EE4P_AGENDAWIZARD_PROPERTIES" val="77.00465/427.2879/31.50472/31.50472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PageNo"/>
  <p:tag name="EE4P_AGENDAWIZARD_PROPERTIES" val="904.8554/390.7831/8.45685/31.50472"/>
  <p:tag name="EE4P_AGENDAWIZARD_CONTENT" val="/121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Topic"/>
  <p:tag name="EE4P_AGENDAWIZARD_CONTENT" val="/End-to-End Approaches"/>
  <p:tag name="EE4P_AGENDAWIZARD_PROPERTIES" val="113.5094/390.7831/232.6248/31.50472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ItemNo"/>
  <p:tag name="EE4P_AGENDAWIZARD_CONTENT" val="/3.5"/>
  <p:tag name="EE4P_AGENDAWIZARD_PROPERTIES" val="77.00465/390.7831/31.50472/31.50472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Element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PageNo"/>
  <p:tag name="EE4P_AGENDAWIZARD_PROPERTIES" val="904.8554/354.2784/8.45685/31.5048"/>
  <p:tag name="EE4P_AGENDAWIZARD_CONTENT" val="/119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Topic"/>
  <p:tag name="EE4P_AGENDAWIZARD_CONTENT" val="/Language-Guided Grasping"/>
  <p:tag name="EE4P_AGENDAWIZARD_PROPERTIES" val="113.5094/354.2784/232.6248/31.5048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ItemNo"/>
  <p:tag name="EE4P_AGENDAWIZARD_CONTENT" val="/3.4"/>
  <p:tag name="EE4P_AGENDAWIZARD_PROPERTIES" val="77.00465/354.2784/31.50472/31.5048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PageNo"/>
  <p:tag name="EE4P_AGENDAWIZARD_PROPERTIES" val="904.8554/317.7736/8.45685/31.50472"/>
  <p:tag name="EE4P_AGENDAWIZARD_CONTENT" val="/117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ItemNo"/>
  <p:tag name="EE4P_AGENDAWIZARD_CONTENT" val="/4"/>
  <p:tag name="EE4P_AGENDAWIZARD_PROPERTIES" val="40.49992/244.7642/31.50472/31.50472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Topic"/>
  <p:tag name="EE4P_AGENDAWIZARD_CONTENT" val="/Datasets"/>
  <p:tag name="EE4P_AGENDAWIZARD_PROPERTIES" val="113.5094/317.7736/232.6248/31.50472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ItemNo"/>
  <p:tag name="EE4P_AGENDAWIZARD_CONTENT" val="/3.3"/>
  <p:tag name="EE4P_AGENDAWIZARD_PROPERTIES" val="77.00465/317.7736/31.50472/31.50472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PageNo"/>
  <p:tag name="EE4P_AGENDAWIZARD_PROPERTIES" val="904.8554/281.2689/8.45685/31.50472"/>
  <p:tag name="EE4P_AGENDAWIZARD_CONTENT" val="/115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Topic"/>
  <p:tag name="EE4P_AGENDAWIZARD_CONTENT" val="/Gripper"/>
  <p:tag name="EE4P_AGENDAWIZARD_PROPERTIES" val="113.5094/281.2689/232.6248/31.50472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ItemNo"/>
  <p:tag name="EE4P_AGENDAWIZARD_CONTENT" val="/3.2"/>
  <p:tag name="EE4P_AGENDAWIZARD_PROPERTIES" val="77.00465/281.2689/31.50472/31.50472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PageNo"/>
  <p:tag name="EE4P_AGENDAWIZARD_PROPERTIES" val="904.8554/244.7642/8.45685/31.50472"/>
  <p:tag name="EE4P_AGENDAWIZARD_CONTENT" val="/113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Topic"/>
  <p:tag name="EE4P_AGENDAWIZARD_CONTENT" val="/Introduction"/>
  <p:tag name="EE4P_AGENDAWIZARD_PROPERTIES" val="113.5094/244.7642/232.6248/31.50472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ItemNo"/>
  <p:tag name="EE4P_AGENDAWIZARD_CONTENT" val="/3.1"/>
  <p:tag name="EE4P_AGENDAWIZARD_PROPERTIES" val="77.00465/244.7642/31.50472/31.50472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208.2594/8.45685/31.50472"/>
  <p:tag name="EE4P_AGENDAWIZARD_CONTENT" val="/111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208.2594/269.1295/31.5047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PageNo"/>
  <p:tag name="EE4P_AGENDAWIZARD_PROPERTIES" val="904.8554/208.2594/8.45685/31.50472"/>
  <p:tag name="EE4P_AGENDAWIZARD_CONTENT" val="/15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208.2594/31.50472/31.50472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256ceb1b-5282-479b-b09f-b280e8d56277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PageNo"/>
  <p:tag name="EE4P_AGENDAWIZARD_PROPERTIES" val="904.8554/427.2879/8.45685/31.50472"/>
  <p:tag name="EE4P_AGENDAWIZARD_CONTENT" val="/12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9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Topic"/>
  <p:tag name="EE4P_AGENDAWIZARD_CONTENT" val="/Wheeled Robots"/>
  <p:tag name="EE4P_AGENDAWIZARD_PROPERTIES" val="77.00465/208.2594/145.5325/31.50472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Topic"/>
  <p:tag name="EE4P_AGENDAWIZARD_CONTENT" val="/Modular Approaches"/>
  <p:tag name="EE4P_AGENDAWIZARD_PROPERTIES" val="113.5094/427.2879/232.6248/31.50472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ItemNo"/>
  <p:tag name="EE4P_AGENDAWIZARD_CONTENT" val="/3.6"/>
  <p:tag name="EE4P_AGENDAWIZARD_PROPERTIES" val="77.00465/427.2879/31.50472/31.50472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Element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PageNo"/>
  <p:tag name="EE4P_AGENDAWIZARD_PROPERTIES" val="904.8554/390.7831/8.45685/31.50472"/>
  <p:tag name="EE4P_AGENDAWIZARD_CONTENT" val="/121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Topic"/>
  <p:tag name="EE4P_AGENDAWIZARD_CONTENT" val="/End-to-End Approaches"/>
  <p:tag name="EE4P_AGENDAWIZARD_PROPERTIES" val="113.5094/390.7831/232.6248/31.50472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ItemNo"/>
  <p:tag name="EE4P_AGENDAWIZARD_CONTENT" val="/3.5"/>
  <p:tag name="EE4P_AGENDAWIZARD_PROPERTIES" val="77.00465/390.7831/31.50472/31.50472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PageNo"/>
  <p:tag name="EE4P_AGENDAWIZARD_PROPERTIES" val="904.8554/354.2784/8.45685/31.5048"/>
  <p:tag name="EE4P_AGENDAWIZARD_CONTENT" val="/119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Topic"/>
  <p:tag name="EE4P_AGENDAWIZARD_CONTENT" val="/Language-Guided Grasping"/>
  <p:tag name="EE4P_AGENDAWIZARD_PROPERTIES" val="113.5094/354.2784/232.6248/31.5048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ItemNo"/>
  <p:tag name="EE4P_AGENDAWIZARD_CONTENT" val="/3.4"/>
  <p:tag name="EE4P_AGENDAWIZARD_PROPERTIES" val="77.00465/354.2784/31.50472/31.5048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PageNo"/>
  <p:tag name="EE4P_AGENDAWIZARD_PROPERTIES" val="904.8554/317.7736/8.45685/31.50472"/>
  <p:tag name="EE4P_AGENDAWIZARD_CONTENT" val="/117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ItemNo"/>
  <p:tag name="EE4P_AGENDAWIZARD_CONTENT" val="/3"/>
  <p:tag name="EE4P_AGENDAWIZARD_PROPERTIES" val="40.49992/208.2594/31.50472/31.50472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Topic"/>
  <p:tag name="EE4P_AGENDAWIZARD_CONTENT" val="/Datasets"/>
  <p:tag name="EE4P_AGENDAWIZARD_PROPERTIES" val="113.5094/317.7736/232.6248/31.50472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ItemNo"/>
  <p:tag name="EE4P_AGENDAWIZARD_CONTENT" val="/3.3"/>
  <p:tag name="EE4P_AGENDAWIZARD_PROPERTIES" val="77.00465/317.7736/31.50472/31.50472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PageNo"/>
  <p:tag name="EE4P_AGENDAWIZARD_PROPERTIES" val="904.8554/281.2689/8.45685/31.50472"/>
  <p:tag name="EE4P_AGENDAWIZARD_CONTENT" val="/115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Topic"/>
  <p:tag name="EE4P_AGENDAWIZARD_CONTENT" val="/Gripper"/>
  <p:tag name="EE4P_AGENDAWIZARD_PROPERTIES" val="113.5094/281.2689/232.6248/31.50472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ItemNo"/>
  <p:tag name="EE4P_AGENDAWIZARD_CONTENT" val="/3.2"/>
  <p:tag name="EE4P_AGENDAWIZARD_PROPERTIES" val="77.00465/281.2689/31.50472/31.50472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PageNo"/>
  <p:tag name="EE4P_AGENDAWIZARD_PROPERTIES" val="904.8554/244.7642/8.45685/31.50472"/>
  <p:tag name="EE4P_AGENDAWIZARD_CONTENT" val="/113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Topic"/>
  <p:tag name="EE4P_AGENDAWIZARD_CONTENT" val="/Introduction"/>
  <p:tag name="EE4P_AGENDAWIZARD_PROPERTIES" val="113.5094/244.7642/232.6248/31.50472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ItemNo"/>
  <p:tag name="EE4P_AGENDAWIZARD_CONTENT" val="/3.1"/>
  <p:tag name="EE4P_AGENDAWIZARD_PROPERTIES" val="77.00465/244.7642/31.50472/31.50472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208.2594/8.45685/31.50472"/>
  <p:tag name="EE4P_AGENDAWIZARD_CONTENT" val="/111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208.2594/269.1295/31.5047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Element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208.2594/31.50472/31.50472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90ebd79-5f3a-4dcf-a71e-ca959b8c6277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Elemen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PageNo"/>
  <p:tag name="EE4P_AGENDAWIZARD_PROPERTIES" val="904.8554/171.7547/8.45685/31.50472"/>
  <p:tag name="EE4P_AGENDAWIZARD_CONTENT" val="/13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PageNo"/>
  <p:tag name="EE4P_AGENDAWIZARD_PROPERTIES" val="904.8554/427.2879/8.45685/31.50472"/>
  <p:tag name="EE4P_AGENDAWIZARD_CONTENT" val="/123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Topic"/>
  <p:tag name="EE4P_AGENDAWIZARD_CONTENT" val="/Modular Approaches"/>
  <p:tag name="EE4P_AGENDAWIZARD_PROPERTIES" val="113.5094/427.2879/232.6248/31.50472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90ebd79-5f3a-4dcf-a71e-ca959b8c6277_ItemNo"/>
  <p:tag name="EE4P_AGENDAWIZARD_CONTENT" val="/3.6"/>
  <p:tag name="EE4P_AGENDAWIZARD_PROPERTIES" val="77.00465/427.2879/31.50472/31.50472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PageNo"/>
  <p:tag name="EE4P_AGENDAWIZARD_PROPERTIES" val="904.8554/390.7831/8.45685/31.50472"/>
  <p:tag name="EE4P_AGENDAWIZARD_CONTENT" val="/121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Topic"/>
  <p:tag name="EE4P_AGENDAWIZARD_CONTENT" val="/End-to-End Approaches"/>
  <p:tag name="EE4P_AGENDAWIZARD_PROPERTIES" val="113.5094/390.7831/232.6248/31.50472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56ceb1b-5282-479b-b09f-b280e8d56277_ItemNo"/>
  <p:tag name="EE4P_AGENDAWIZARD_CONTENT" val="/3.5"/>
  <p:tag name="EE4P_AGENDAWIZARD_PROPERTIES" val="77.00465/390.7831/31.50472/31.50472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PageNo"/>
  <p:tag name="EE4P_AGENDAWIZARD_PROPERTIES" val="904.8554/354.2784/8.45685/31.5048"/>
  <p:tag name="EE4P_AGENDAWIZARD_CONTENT" val="/119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Topic"/>
  <p:tag name="EE4P_AGENDAWIZARD_CONTENT" val="/Language-Guided Grasping"/>
  <p:tag name="EE4P_AGENDAWIZARD_PROPERTIES" val="113.5094/354.2784/232.6248/31.5048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4700447-82fe-436d-ba5c-cd5d3ff38b60_ItemNo"/>
  <p:tag name="EE4P_AGENDAWIZARD_CONTENT" val="/3.4"/>
  <p:tag name="EE4P_AGENDAWIZARD_PROPERTIES" val="77.00465/354.2784/31.50472/31.5048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PageNo"/>
  <p:tag name="EE4P_AGENDAWIZARD_PROPERTIES" val="904.8554/317.7736/8.45685/31.50472"/>
  <p:tag name="EE4P_AGENDAWIZARD_CONTENT" val="/117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Topic"/>
  <p:tag name="EE4P_AGENDAWIZARD_CONTENT" val="/Fixed-base Robots"/>
  <p:tag name="EE4P_AGENDAWIZARD_PROPERTIES" val="77.00465/171.7547/145.5325/31.50472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Topic"/>
  <p:tag name="EE4P_AGENDAWIZARD_CONTENT" val="/Datasets"/>
  <p:tag name="EE4P_AGENDAWIZARD_PROPERTIES" val="113.5094/317.7736/232.6248/31.50472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1aaad74-1b3f-4ca1-8828-95a4ba0041a8_ItemNo"/>
  <p:tag name="EE4P_AGENDAWIZARD_CONTENT" val="/3.3"/>
  <p:tag name="EE4P_AGENDAWIZARD_PROPERTIES" val="77.00465/317.7736/31.50472/31.50472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PageNo"/>
  <p:tag name="EE4P_AGENDAWIZARD_PROPERTIES" val="904.8554/281.2689/8.45685/31.50472"/>
  <p:tag name="EE4P_AGENDAWIZARD_CONTENT" val="/115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Topic"/>
  <p:tag name="EE4P_AGENDAWIZARD_CONTENT" val="/Gripper"/>
  <p:tag name="EE4P_AGENDAWIZARD_PROPERTIES" val="113.5094/281.2689/232.6248/31.50472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5312c2-b13d-480a-b122-ef828e839690_ItemNo"/>
  <p:tag name="EE4P_AGENDAWIZARD_CONTENT" val="/3.2"/>
  <p:tag name="EE4P_AGENDAWIZARD_PROPERTIES" val="77.00465/281.2689/31.50472/31.50472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PageNo"/>
  <p:tag name="EE4P_AGENDAWIZARD_PROPERTIES" val="904.8554/244.7642/8.45685/31.50472"/>
  <p:tag name="EE4P_AGENDAWIZARD_CONTENT" val="/113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Topic"/>
  <p:tag name="EE4P_AGENDAWIZARD_CONTENT" val="/Introduction"/>
  <p:tag name="EE4P_AGENDAWIZARD_PROPERTIES" val="113.5094/244.7642/232.6248/31.50472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1c1820-914e-4525-b41c-30a13a4a07c8_ItemNo"/>
  <p:tag name="EE4P_AGENDAWIZARD_CONTENT" val="/3.1"/>
  <p:tag name="EE4P_AGENDAWIZARD_PROPERTIES" val="77.00465/244.7642/31.50472/31.50472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208.2594/8.45685/31.50472"/>
  <p:tag name="EE4P_AGENDAWIZARD_CONTENT" val="/111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208.2594/269.1295/31.5047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ItemNo"/>
  <p:tag name="EE4P_AGENDAWIZARD_CONTENT" val="/2"/>
  <p:tag name="EE4P_AGENDAWIZARD_PROPERTIES" val="40.49992/171.7547/31.50472/31.50472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208.2594/31.50472/31.50472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fbc024c-c859-49ab-aab7-ef408c11f3ea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18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PageNo"/>
  <p:tag name="EE4P_AGENDAWIZARD_PROPERTIES" val="904.8554/135.25/8.45685/31.50472"/>
  <p:tag name="EE4P_AGENDAWIZARD_CONTENT" val="/11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&amp; Future Directions"/>
  <p:tag name="EE4P_AGENDAWIZARD_PROPERTIES" val="77.00465/390.7831/233.3821/31.50472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49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33.3821/31.5048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Element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25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33.3821/31.50472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9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Topic"/>
  <p:tag name="EE4P_AGENDAWIZARD_CONTENT" val="/Introduction"/>
  <p:tag name="EE4P_AGENDAWIZARD_PROPERTIES" val="77.00465/135.25/145.5325/31.50472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33.3821/31.50472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55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33.3821/31.50472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25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33.3821/31.50472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9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33.3821/31.5047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ItemNo"/>
  <p:tag name="EE4P_AGENDAWIZARD_CONTENT" val="/1"/>
  <p:tag name="EE4P_AGENDAWIZARD_PROPERTIES" val="40.49992/135.25/31.50472/31.50472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5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33.3821/31.50472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8be7a2d-7264-4b68-8ac3-01c050178dfa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PageNo"/>
  <p:tag name="EE4P_AGENDAWIZARD_PROPERTIES" val="904.8554/244.7642/8.45685/31.50472"/>
  <p:tag name="EE4P_AGENDAWIZARD_CONTENT" val="/141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Topic"/>
  <p:tag name="EE4P_AGENDAWIZARD_CONTENT" val="/Embodied Action Planning"/>
  <p:tag name="EE4P_AGENDAWIZARD_PROPERTIES" val="77.00465/244.7642/587.7104/31.50472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ItemNo"/>
  <p:tag name="EE4P_AGENDAWIZARD_CONTENT" val="/4"/>
  <p:tag name="EE4P_AGENDAWIZARD_PROPERTIES" val="40.49992/244.7642/31.50472/31.50472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PageNo"/>
  <p:tag name="EE4P_AGENDAWIZARD_PROPERTIES" val="904.8554/208.2594/8.45685/31.50472"/>
  <p:tag name="EE4P_AGENDAWIZARD_CONTENT" val="/13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Topic"/>
  <p:tag name="EE4P_AGENDAWIZARD_CONTENT" val="/Embodied Task Planning"/>
  <p:tag name="EE4P_AGENDAWIZARD_PROPERTIES" val="77.00465/208.2594/587.7104/31.50472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ItemNo"/>
  <p:tag name="EE4P_AGENDAWIZARD_CONTENT" val="/3"/>
  <p:tag name="EE4P_AGENDAWIZARD_PROPERTIES" val="40.49992/208.2594/31.50472/31.50472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PageNo"/>
  <p:tag name="EE4P_AGENDAWIZARD_PROPERTIES" val="904.8554/171.7547/8.45685/31.50472"/>
  <p:tag name="EE4P_AGENDAWIZARD_CONTENT" val="/129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Topic"/>
  <p:tag name="EE4P_AGENDAWIZARD_CONTENT" val="/Embodied Multimodal Foundation Model"/>
  <p:tag name="EE4P_AGENDAWIZARD_PROPERTIES" val="77.00465/171.7547/587.7104/31.50472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ItemNo"/>
  <p:tag name="EE4P_AGENDAWIZARD_CONTENT" val="/2"/>
  <p:tag name="EE4P_AGENDAWIZARD_PROPERTIES" val="40.49992/171.7547/31.50472/31.50472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Element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PageNo"/>
  <p:tag name="EE4P_AGENDAWIZARD_PROPERTIES" val="904.8554/135.25/8.45685/31.50472"/>
  <p:tag name="EE4P_AGENDAWIZARD_CONTENT" val="/127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Topic"/>
  <p:tag name="EE4P_AGENDAWIZARD_CONTENT" val="/Introduction"/>
  <p:tag name="EE4P_AGENDAWIZARD_PROPERTIES" val="77.00465/135.25/587.7104/31.50472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ItemNo"/>
  <p:tag name="EE4P_AGENDAWIZARD_CONTENT" val="/1"/>
  <p:tag name="EE4P_AGENDAWIZARD_PROPERTIES" val="40.49992/135.25/31.50472/31.50472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33.3821/31.5047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51189d9-a7b4-400a-9bf7-d8f1268b6aaa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PageNo"/>
  <p:tag name="EE4P_AGENDAWIZARD_PROPERTIES" val="904.8554/244.7642/8.45685/31.50472"/>
  <p:tag name="EE4P_AGENDAWIZARD_CONTENT" val="/141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Topic"/>
  <p:tag name="EE4P_AGENDAWIZARD_CONTENT" val="/Embodied Action Planning"/>
  <p:tag name="EE4P_AGENDAWIZARD_PROPERTIES" val="77.00465/244.7642/587.7104/31.50472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ItemNo"/>
  <p:tag name="EE4P_AGENDAWIZARD_CONTENT" val="/4"/>
  <p:tag name="EE4P_AGENDAWIZARD_PROPERTIES" val="40.49992/244.7642/31.50472/31.50472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PageNo"/>
  <p:tag name="EE4P_AGENDAWIZARD_PROPERTIES" val="904.8554/208.2594/8.45685/31.50472"/>
  <p:tag name="EE4P_AGENDAWIZARD_CONTENT" val="/131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Topic"/>
  <p:tag name="EE4P_AGENDAWIZARD_CONTENT" val="/Embodied Task Planning"/>
  <p:tag name="EE4P_AGENDAWIZARD_PROPERTIES" val="77.00465/208.2594/587.7104/31.50472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ItemNo"/>
  <p:tag name="EE4P_AGENDAWIZARD_CONTENT" val="/3"/>
  <p:tag name="EE4P_AGENDAWIZARD_PROPERTIES" val="40.49992/208.2594/31.50472/31.50472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Element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PageNo"/>
  <p:tag name="EE4P_AGENDAWIZARD_PROPERTIES" val="904.8554/171.7547/8.45685/31.50472"/>
  <p:tag name="EE4P_AGENDAWIZARD_CONTENT" val="/129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Topic"/>
  <p:tag name="EE4P_AGENDAWIZARD_CONTENT" val="/Embodied Multimodal Foundation Model"/>
  <p:tag name="EE4P_AGENDAWIZARD_PROPERTIES" val="77.00465/171.7547/587.7104/31.5047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ItemNo"/>
  <p:tag name="EE4P_AGENDAWIZARD_CONTENT" val="/2"/>
  <p:tag name="EE4P_AGENDAWIZARD_PROPERTIES" val="40.49992/171.7547/31.50472/31.50472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PageNo"/>
  <p:tag name="EE4P_AGENDAWIZARD_PROPERTIES" val="904.8554/135.25/8.45685/31.50472"/>
  <p:tag name="EE4P_AGENDAWIZARD_CONTENT" val="/127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Topic"/>
  <p:tag name="EE4P_AGENDAWIZARD_CONTENT" val="/Introduction"/>
  <p:tag name="EE4P_AGENDAWIZARD_PROPERTIES" val="77.00465/135.25/587.7104/31.50472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ItemNo"/>
  <p:tag name="EE4P_AGENDAWIZARD_CONTENT" val="/1"/>
  <p:tag name="EE4P_AGENDAWIZARD_PROPERTIES" val="40.49992/135.25/31.50472/31.50472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313a3bf-972a-4020-ac80-414f000d153f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PageNo"/>
  <p:tag name="EE4P_AGENDAWIZARD_PROPERTIES" val="904.8554/390.7831/8.45685/31.50472"/>
  <p:tag name="EE4P_AGENDAWIZARD_CONTENT" val="/141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Topic"/>
  <p:tag name="EE4P_AGENDAWIZARD_CONTENT" val="/Embodied Action Planning"/>
  <p:tag name="EE4P_AGENDAWIZARD_PROPERTIES" val="77.00465/390.7831/587.7104/31.50472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ItemNo"/>
  <p:tag name="EE4P_AGENDAWIZARD_CONTENT" val="/4"/>
  <p:tag name="EE4P_AGENDAWIZARD_PROPERTIES" val="40.49992/390.7831/31.50472/31.50472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PageNo"/>
  <p:tag name="EE4P_AGENDAWIZARD_PROPERTIES" val="904.8554/354.2784/8.45685/31.5048"/>
  <p:tag name="EE4P_AGENDAWIZARD_CONTENT" val="/139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1d2a717-9dd7-4626-a97c-02ee6a77a1e8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Topic"/>
  <p:tag name="EE4P_AGENDAWIZARD_CONTENT" val="/Planning utilizing the VLMs"/>
  <p:tag name="EE4P_AGENDAWIZARD_PROPERTIES" val="113.5094/354.2784/551.2057/31.5048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ItemNo"/>
  <p:tag name="EE4P_AGENDAWIZARD_CONTENT" val="/3.4"/>
  <p:tag name="EE4P_AGENDAWIZARD_PROPERTIES" val="77.00465/354.2784/31.50472/31.5048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PageNo"/>
  <p:tag name="EE4P_AGENDAWIZARD_PROPERTIES" val="904.8554/317.7736/8.45685/31.50472"/>
  <p:tag name="EE4P_AGENDAWIZARD_CONTENT" val="/137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Topic"/>
  <p:tag name="EE4P_AGENDAWIZARD_CONTENT" val="/Planning utilizing the visual information from embodied perception model"/>
  <p:tag name="EE4P_AGENDAWIZARD_PROPERTIES" val="113.5094/317.7736/551.2057/31.50472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ItemNo"/>
  <p:tag name="EE4P_AGENDAWIZARD_CONTENT" val="/3.3"/>
  <p:tag name="EE4P_AGENDAWIZARD_PROPERTIES" val="77.00465/317.7736/31.50472/31.50472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PageNo"/>
  <p:tag name="EE4P_AGENDAWIZARD_PROPERTIES" val="904.8554/281.2689/8.45685/31.50472"/>
  <p:tag name="EE4P_AGENDAWIZARD_CONTENT" val="/135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Topic"/>
  <p:tag name="EE4P_AGENDAWIZARD_CONTENT" val="/Planning utilizing the Emergent Capabilities of LLMs"/>
  <p:tag name="EE4P_AGENDAWIZARD_PROPERTIES" val="113.5094/281.2689/551.2057/31.50472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ItemNo"/>
  <p:tag name="EE4P_AGENDAWIZARD_CONTENT" val="/3.2"/>
  <p:tag name="EE4P_AGENDAWIZARD_PROPERTIES" val="77.00465/281.2689/31.50472/31.50472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PageNo"/>
  <p:tag name="EE4P_AGENDAWIZARD_PROPERTIES" val="904.8554/244.7642/8.45685/31.50472"/>
  <p:tag name="EE4P_AGENDAWIZARD_CONTENT" val="/133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Topic"/>
  <p:tag name="EE4P_AGENDAWIZARD_CONTENT" val="/Introduction"/>
  <p:tag name="EE4P_AGENDAWIZARD_PROPERTIES" val="113.5094/244.7642/551.2057/31.5047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PageNo"/>
  <p:tag name="EE4P_AGENDAWIZARD_PROPERTIES" val="904.8554/354.2784/8.45685/31.5048"/>
  <p:tag name="EE4P_AGENDAWIZARD_CONTENT" val="/23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ItemNo"/>
  <p:tag name="EE4P_AGENDAWIZARD_CONTENT" val="/3.1"/>
  <p:tag name="EE4P_AGENDAWIZARD_PROPERTIES" val="77.00465/244.7642/31.50472/31.50472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Element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PageNo"/>
  <p:tag name="EE4P_AGENDAWIZARD_PROPERTIES" val="904.8554/208.2594/8.45685/31.50472"/>
  <p:tag name="EE4P_AGENDAWIZARD_CONTENT" val="/131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Topic"/>
  <p:tag name="EE4P_AGENDAWIZARD_CONTENT" val="/Embodied Task Planning"/>
  <p:tag name="EE4P_AGENDAWIZARD_PROPERTIES" val="77.00465/208.2594/587.7104/31.50472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ItemNo"/>
  <p:tag name="EE4P_AGENDAWIZARD_CONTENT" val="/3"/>
  <p:tag name="EE4P_AGENDAWIZARD_PROPERTIES" val="40.49992/208.2594/31.50472/31.50472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PageNo"/>
  <p:tag name="EE4P_AGENDAWIZARD_PROPERTIES" val="904.8554/171.7547/8.45685/31.50472"/>
  <p:tag name="EE4P_AGENDAWIZARD_CONTENT" val="/129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Topic"/>
  <p:tag name="EE4P_AGENDAWIZARD_CONTENT" val="/Embodied Multimodal Foundation Model"/>
  <p:tag name="EE4P_AGENDAWIZARD_PROPERTIES" val="77.00465/171.7547/587.7104/31.50472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ItemNo"/>
  <p:tag name="EE4P_AGENDAWIZARD_CONTENT" val="/2"/>
  <p:tag name="EE4P_AGENDAWIZARD_PROPERTIES" val="40.49992/171.7547/31.50472/31.50472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PageNo"/>
  <p:tag name="EE4P_AGENDAWIZARD_PROPERTIES" val="904.8554/135.25/8.45685/31.50472"/>
  <p:tag name="EE4P_AGENDAWIZARD_CONTENT" val="/127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Topic"/>
  <p:tag name="EE4P_AGENDAWIZARD_CONTENT" val="/Introduction"/>
  <p:tag name="EE4P_AGENDAWIZARD_PROPERTIES" val="77.00465/135.25/587.7104/31.5047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Topic"/>
  <p:tag name="EE4P_AGENDAWIZARD_CONTENT" val="/Biomimetic Robots"/>
  <p:tag name="EE4P_AGENDAWIZARD_PROPERTIES" val="77.00465/354.2784/145.5325/31.5048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ItemNo"/>
  <p:tag name="EE4P_AGENDAWIZARD_CONTENT" val="/1"/>
  <p:tag name="EE4P_AGENDAWIZARD_PROPERTIES" val="40.49992/135.25/31.50472/31.50472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3177b66-0d59-4daf-8adb-c2bf8581c1c0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PageNo"/>
  <p:tag name="EE4P_AGENDAWIZARD_PROPERTIES" val="904.8554/390.7831/8.45685/31.50472"/>
  <p:tag name="EE4P_AGENDAWIZARD_CONTENT" val="/141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Topic"/>
  <p:tag name="EE4P_AGENDAWIZARD_CONTENT" val="/Embodied Action Planning"/>
  <p:tag name="EE4P_AGENDAWIZARD_PROPERTIES" val="77.00465/390.7831/587.7104/31.50472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ItemNo"/>
  <p:tag name="EE4P_AGENDAWIZARD_CONTENT" val="/4"/>
  <p:tag name="EE4P_AGENDAWIZARD_PROPERTIES" val="40.49992/390.7831/31.50472/31.50472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PageNo"/>
  <p:tag name="EE4P_AGENDAWIZARD_PROPERTIES" val="904.8554/354.2784/8.45685/31.5048"/>
  <p:tag name="EE4P_AGENDAWIZARD_CONTENT" val="/139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Topic"/>
  <p:tag name="EE4P_AGENDAWIZARD_CONTENT" val="/Planning utilizing the VLMs"/>
  <p:tag name="EE4P_AGENDAWIZARD_PROPERTIES" val="113.5094/354.2784/551.2057/31.5048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ItemNo"/>
  <p:tag name="EE4P_AGENDAWIZARD_CONTENT" val="/3.4"/>
  <p:tag name="EE4P_AGENDAWIZARD_PROPERTIES" val="77.00465/354.2784/31.50472/31.5048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PageNo"/>
  <p:tag name="EE4P_AGENDAWIZARD_PROPERTIES" val="904.8554/317.7736/8.45685/31.50472"/>
  <p:tag name="EE4P_AGENDAWIZARD_CONTENT" val="/13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ItemNo"/>
  <p:tag name="EE4P_AGENDAWIZARD_CONTENT" val="/7"/>
  <p:tag name="EE4P_AGENDAWIZARD_PROPERTIES" val="40.49992/354.2784/31.50472/31.5048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Topic"/>
  <p:tag name="EE4P_AGENDAWIZARD_CONTENT" val="/Planning utilizing the visual information from embodied perception model"/>
  <p:tag name="EE4P_AGENDAWIZARD_PROPERTIES" val="113.5094/317.7736/551.2057/31.50472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ItemNo"/>
  <p:tag name="EE4P_AGENDAWIZARD_CONTENT" val="/3.3"/>
  <p:tag name="EE4P_AGENDAWIZARD_PROPERTIES" val="77.00465/317.7736/31.50472/31.50472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PageNo"/>
  <p:tag name="EE4P_AGENDAWIZARD_PROPERTIES" val="904.8554/281.2689/8.45685/31.50472"/>
  <p:tag name="EE4P_AGENDAWIZARD_CONTENT" val="/135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Topic"/>
  <p:tag name="EE4P_AGENDAWIZARD_CONTENT" val="/Planning utilizing the Emergent Capabilities of LLMs"/>
  <p:tag name="EE4P_AGENDAWIZARD_PROPERTIES" val="113.5094/281.2689/551.2057/31.50472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ItemNo"/>
  <p:tag name="EE4P_AGENDAWIZARD_CONTENT" val="/3.2"/>
  <p:tag name="EE4P_AGENDAWIZARD_PROPERTIES" val="77.00465/281.2689/31.50472/31.50472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Element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PageNo"/>
  <p:tag name="EE4P_AGENDAWIZARD_PROPERTIES" val="904.8554/244.7642/8.45685/31.50472"/>
  <p:tag name="EE4P_AGENDAWIZARD_CONTENT" val="/133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Topic"/>
  <p:tag name="EE4P_AGENDAWIZARD_CONTENT" val="/Introduction"/>
  <p:tag name="EE4P_AGENDAWIZARD_PROPERTIES" val="113.5094/244.7642/551.2057/31.50472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ItemNo"/>
  <p:tag name="EE4P_AGENDAWIZARD_CONTENT" val="/3.1"/>
  <p:tag name="EE4P_AGENDAWIZARD_PROPERTIES" val="77.00465/244.7642/31.50472/31.50472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PageNo"/>
  <p:tag name="EE4P_AGENDAWIZARD_PROPERTIES" val="904.8554/208.2594/8.45685/31.50472"/>
  <p:tag name="EE4P_AGENDAWIZARD_CONTENT" val="/13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PageNo"/>
  <p:tag name="EE4P_AGENDAWIZARD_PROPERTIES" val="904.8554/317.7736/8.45685/31.50472"/>
  <p:tag name="EE4P_AGENDAWIZARD_CONTENT" val="/21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Topic"/>
  <p:tag name="EE4P_AGENDAWIZARD_CONTENT" val="/Embodied Task Planning"/>
  <p:tag name="EE4P_AGENDAWIZARD_PROPERTIES" val="77.00465/208.2594/587.7104/31.50472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ItemNo"/>
  <p:tag name="EE4P_AGENDAWIZARD_CONTENT" val="/3"/>
  <p:tag name="EE4P_AGENDAWIZARD_PROPERTIES" val="40.49992/208.2594/31.50472/31.50472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PageNo"/>
  <p:tag name="EE4P_AGENDAWIZARD_PROPERTIES" val="904.8554/171.7547/8.45685/31.50472"/>
  <p:tag name="EE4P_AGENDAWIZARD_CONTENT" val="/129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Topic"/>
  <p:tag name="EE4P_AGENDAWIZARD_CONTENT" val="/Embodied Multimodal Foundation Model"/>
  <p:tag name="EE4P_AGENDAWIZARD_PROPERTIES" val="77.00465/171.7547/587.7104/31.50472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ItemNo"/>
  <p:tag name="EE4P_AGENDAWIZARD_CONTENT" val="/2"/>
  <p:tag name="EE4P_AGENDAWIZARD_PROPERTIES" val="40.49992/171.7547/31.50472/31.50472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PageNo"/>
  <p:tag name="EE4P_AGENDAWIZARD_PROPERTIES" val="904.8554/135.25/8.45685/31.50472"/>
  <p:tag name="EE4P_AGENDAWIZARD_CONTENT" val="/127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Topic"/>
  <p:tag name="EE4P_AGENDAWIZARD_CONTENT" val="/Introduction"/>
  <p:tag name="EE4P_AGENDAWIZARD_PROPERTIES" val="77.00465/135.25/587.7104/31.50472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ItemNo"/>
  <p:tag name="EE4P_AGENDAWIZARD_CONTENT" val="/1"/>
  <p:tag name="EE4P_AGENDAWIZARD_PROPERTIES" val="40.49992/135.25/31.50472/31.50472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28910f72-0685-4cd2-9f71-cefc8c70e099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Topic"/>
  <p:tag name="EE4P_AGENDAWIZARD_CONTENT" val="/Humanoid Robots"/>
  <p:tag name="EE4P_AGENDAWIZARD_PROPERTIES" val="77.00465/317.7736/145.5325/31.50472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PageNo"/>
  <p:tag name="EE4P_AGENDAWIZARD_PROPERTIES" val="904.8554/390.7831/8.45685/31.50472"/>
  <p:tag name="EE4P_AGENDAWIZARD_CONTENT" val="/141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Topic"/>
  <p:tag name="EE4P_AGENDAWIZARD_CONTENT" val="/Embodied Action Planning"/>
  <p:tag name="EE4P_AGENDAWIZARD_PROPERTIES" val="77.00465/390.7831/587.7104/31.50472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ItemNo"/>
  <p:tag name="EE4P_AGENDAWIZARD_CONTENT" val="/4"/>
  <p:tag name="EE4P_AGENDAWIZARD_PROPERTIES" val="40.49992/390.7831/31.50472/31.50472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PageNo"/>
  <p:tag name="EE4P_AGENDAWIZARD_PROPERTIES" val="904.8554/354.2784/8.45685/31.5048"/>
  <p:tag name="EE4P_AGENDAWIZARD_CONTENT" val="/139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Topic"/>
  <p:tag name="EE4P_AGENDAWIZARD_CONTENT" val="/Planning utilizing the VLMs"/>
  <p:tag name="EE4P_AGENDAWIZARD_PROPERTIES" val="113.5094/354.2784/551.2057/31.5048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ItemNo"/>
  <p:tag name="EE4P_AGENDAWIZARD_CONTENT" val="/3.4"/>
  <p:tag name="EE4P_AGENDAWIZARD_PROPERTIES" val="77.00465/354.2784/31.50472/31.5048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PageNo"/>
  <p:tag name="EE4P_AGENDAWIZARD_PROPERTIES" val="904.8554/317.7736/8.45685/31.50472"/>
  <p:tag name="EE4P_AGENDAWIZARD_CONTENT" val="/137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Topic"/>
  <p:tag name="EE4P_AGENDAWIZARD_CONTENT" val="/Planning utilizing the visual information from embodied perception model"/>
  <p:tag name="EE4P_AGENDAWIZARD_PROPERTIES" val="113.5094/317.7736/551.2057/31.50472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ItemNo"/>
  <p:tag name="EE4P_AGENDAWIZARD_CONTENT" val="/3.3"/>
  <p:tag name="EE4P_AGENDAWIZARD_PROPERTIES" val="77.00465/317.7736/31.50472/31.50472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Elemen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ItemNo"/>
  <p:tag name="EE4P_AGENDAWIZARD_CONTENT" val="/6"/>
  <p:tag name="EE4P_AGENDAWIZARD_PROPERTIES" val="40.49992/317.7736/31.50472/31.50472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PageNo"/>
  <p:tag name="EE4P_AGENDAWIZARD_PROPERTIES" val="904.8554/281.2689/8.45685/31.50472"/>
  <p:tag name="EE4P_AGENDAWIZARD_CONTENT" val="/135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Topic"/>
  <p:tag name="EE4P_AGENDAWIZARD_CONTENT" val="/Planning utilizing the Emergent Capabilities of LLMs"/>
  <p:tag name="EE4P_AGENDAWIZARD_PROPERTIES" val="113.5094/281.2689/551.2057/31.50472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ItemNo"/>
  <p:tag name="EE4P_AGENDAWIZARD_CONTENT" val="/3.2"/>
  <p:tag name="EE4P_AGENDAWIZARD_PROPERTIES" val="77.00465/281.2689/31.50472/31.50472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PageNo"/>
  <p:tag name="EE4P_AGENDAWIZARD_PROPERTIES" val="904.8554/244.7642/8.45685/31.50472"/>
  <p:tag name="EE4P_AGENDAWIZARD_CONTENT" val="/133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Topic"/>
  <p:tag name="EE4P_AGENDAWIZARD_CONTENT" val="/Introduction"/>
  <p:tag name="EE4P_AGENDAWIZARD_PROPERTIES" val="113.5094/244.7642/551.2057/31.50472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ItemNo"/>
  <p:tag name="EE4P_AGENDAWIZARD_CONTENT" val="/3.1"/>
  <p:tag name="EE4P_AGENDAWIZARD_PROPERTIES" val="77.00465/244.7642/31.50472/31.50472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PageNo"/>
  <p:tag name="EE4P_AGENDAWIZARD_PROPERTIES" val="904.8554/208.2594/8.45685/31.50472"/>
  <p:tag name="EE4P_AGENDAWIZARD_CONTENT" val="/131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Topic"/>
  <p:tag name="EE4P_AGENDAWIZARD_CONTENT" val="/Embodied Task Planning"/>
  <p:tag name="EE4P_AGENDAWIZARD_PROPERTIES" val="77.00465/208.2594/587.7104/31.50472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ItemNo"/>
  <p:tag name="EE4P_AGENDAWIZARD_CONTENT" val="/3"/>
  <p:tag name="EE4P_AGENDAWIZARD_PROPERTIES" val="40.49992/208.2594/31.50472/31.50472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PageNo"/>
  <p:tag name="EE4P_AGENDAWIZARD_PROPERTIES" val="904.8554/171.7547/8.45685/31.50472"/>
  <p:tag name="EE4P_AGENDAWIZARD_CONTENT" val="/129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PageNo"/>
  <p:tag name="EE4P_AGENDAWIZARD_PROPERTIES" val="904.8554/281.2689/8.45685/31.50472"/>
  <p:tag name="EE4P_AGENDAWIZARD_CONTENT" val="/19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Topic"/>
  <p:tag name="EE4P_AGENDAWIZARD_CONTENT" val="/Embodied Multimodal Foundation Model"/>
  <p:tag name="EE4P_AGENDAWIZARD_PROPERTIES" val="77.00465/171.7547/587.7104/31.50472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ItemNo"/>
  <p:tag name="EE4P_AGENDAWIZARD_CONTENT" val="/2"/>
  <p:tag name="EE4P_AGENDAWIZARD_PROPERTIES" val="40.49992/171.7547/31.50472/31.50472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PageNo"/>
  <p:tag name="EE4P_AGENDAWIZARD_PROPERTIES" val="904.8554/135.25/8.45685/31.50472"/>
  <p:tag name="EE4P_AGENDAWIZARD_CONTENT" val="/127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Topic"/>
  <p:tag name="EE4P_AGENDAWIZARD_CONTENT" val="/Introduction"/>
  <p:tag name="EE4P_AGENDAWIZARD_PROPERTIES" val="77.00465/135.25/587.7104/31.50472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ItemNo"/>
  <p:tag name="EE4P_AGENDAWIZARD_CONTENT" val="/1"/>
  <p:tag name="EE4P_AGENDAWIZARD_PROPERTIES" val="40.49992/135.25/31.50472/31.50472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32bc900-8e29-4e9f-bc1b-c9eb72ae30b7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PageNo"/>
  <p:tag name="EE4P_AGENDAWIZARD_PROPERTIES" val="904.8554/390.7831/8.45685/31.50472"/>
  <p:tag name="EE4P_AGENDAWIZARD_CONTENT" val="/141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Topic"/>
  <p:tag name="EE4P_AGENDAWIZARD_CONTENT" val="/Embodied Action Planning"/>
  <p:tag name="EE4P_AGENDAWIZARD_PROPERTIES" val="77.00465/390.7831/587.7104/31.50472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ItemNo"/>
  <p:tag name="EE4P_AGENDAWIZARD_CONTENT" val="/4"/>
  <p:tag name="EE4P_AGENDAWIZARD_PROPERTIES" val="40.49992/390.7831/31.50472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Topic"/>
  <p:tag name="EE4P_AGENDAWIZARD_CONTENT" val="/Quadruped Robots"/>
  <p:tag name="EE4P_AGENDAWIZARD_PROPERTIES" val="77.00465/281.2689/145.5325/31.50472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PageNo"/>
  <p:tag name="EE4P_AGENDAWIZARD_PROPERTIES" val="904.8554/354.2784/8.45685/31.5048"/>
  <p:tag name="EE4P_AGENDAWIZARD_CONTENT" val="/139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Topic"/>
  <p:tag name="EE4P_AGENDAWIZARD_CONTENT" val="/Planning utilizing the VLMs"/>
  <p:tag name="EE4P_AGENDAWIZARD_PROPERTIES" val="113.5094/354.2784/551.2057/31.5048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ItemNo"/>
  <p:tag name="EE4P_AGENDAWIZARD_CONTENT" val="/3.4"/>
  <p:tag name="EE4P_AGENDAWIZARD_PROPERTIES" val="77.00465/354.2784/31.50472/31.5048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Element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PageNo"/>
  <p:tag name="EE4P_AGENDAWIZARD_PROPERTIES" val="904.8554/317.7736/8.45685/31.50472"/>
  <p:tag name="EE4P_AGENDAWIZARD_CONTENT" val="/137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Topic"/>
  <p:tag name="EE4P_AGENDAWIZARD_CONTENT" val="/Planning utilizing the visual information from embodied perception model"/>
  <p:tag name="EE4P_AGENDAWIZARD_PROPERTIES" val="113.5094/317.7736/551.2057/31.50472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ItemNo"/>
  <p:tag name="EE4P_AGENDAWIZARD_CONTENT" val="/3.3"/>
  <p:tag name="EE4P_AGENDAWIZARD_PROPERTIES" val="77.00465/317.7736/31.50472/31.50472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PageNo"/>
  <p:tag name="EE4P_AGENDAWIZARD_PROPERTIES" val="904.8554/281.2689/8.45685/31.50472"/>
  <p:tag name="EE4P_AGENDAWIZARD_CONTENT" val="/135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Topic"/>
  <p:tag name="EE4P_AGENDAWIZARD_CONTENT" val="/Planning utilizing the Emergent Capabilities of LLMs"/>
  <p:tag name="EE4P_AGENDAWIZARD_PROPERTIES" val="113.5094/281.2689/551.2057/31.50472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ItemNo"/>
  <p:tag name="EE4P_AGENDAWIZARD_CONTENT" val="/3.2"/>
  <p:tag name="EE4P_AGENDAWIZARD_PROPERTIES" val="77.00465/281.2689/31.50472/31.5047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ItemNo"/>
  <p:tag name="EE4P_AGENDAWIZARD_CONTENT" val="/5"/>
  <p:tag name="EE4P_AGENDAWIZARD_PROPERTIES" val="40.49992/281.2689/31.50472/31.50472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PageNo"/>
  <p:tag name="EE4P_AGENDAWIZARD_PROPERTIES" val="904.8554/244.7642/8.45685/31.50472"/>
  <p:tag name="EE4P_AGENDAWIZARD_CONTENT" val="/133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Topic"/>
  <p:tag name="EE4P_AGENDAWIZARD_CONTENT" val="/Introduction"/>
  <p:tag name="EE4P_AGENDAWIZARD_PROPERTIES" val="113.5094/244.7642/551.2057/31.50472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ItemNo"/>
  <p:tag name="EE4P_AGENDAWIZARD_CONTENT" val="/3.1"/>
  <p:tag name="EE4P_AGENDAWIZARD_PROPERTIES" val="77.00465/244.7642/31.50472/31.50472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PageNo"/>
  <p:tag name="EE4P_AGENDAWIZARD_PROPERTIES" val="904.8554/208.2594/8.45685/31.50472"/>
  <p:tag name="EE4P_AGENDAWIZARD_CONTENT" val="/131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Topic"/>
  <p:tag name="EE4P_AGENDAWIZARD_CONTENT" val="/Embodied Task Planning"/>
  <p:tag name="EE4P_AGENDAWIZARD_PROPERTIES" val="77.00465/208.2594/587.7104/31.50472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ItemNo"/>
  <p:tag name="EE4P_AGENDAWIZARD_CONTENT" val="/3"/>
  <p:tag name="EE4P_AGENDAWIZARD_PROPERTIES" val="40.49992/208.2594/31.50472/31.50472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PageNo"/>
  <p:tag name="EE4P_AGENDAWIZARD_PROPERTIES" val="904.8554/171.7547/8.45685/31.50472"/>
  <p:tag name="EE4P_AGENDAWIZARD_CONTENT" val="/129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Topic"/>
  <p:tag name="EE4P_AGENDAWIZARD_CONTENT" val="/Embodied Multimodal Foundation Model"/>
  <p:tag name="EE4P_AGENDAWIZARD_PROPERTIES" val="77.00465/171.7547/587.7104/31.50472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ItemNo"/>
  <p:tag name="EE4P_AGENDAWIZARD_CONTENT" val="/2"/>
  <p:tag name="EE4P_AGENDAWIZARD_PROPERTIES" val="40.49992/171.7547/31.50472/31.50472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PageNo"/>
  <p:tag name="EE4P_AGENDAWIZARD_PROPERTIES" val="904.8554/135.25/8.45685/31.50472"/>
  <p:tag name="EE4P_AGENDAWIZARD_CONTENT" val="/127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PageNo"/>
  <p:tag name="EE4P_AGENDAWIZARD_PROPERTIES" val="904.8554/244.7642/8.45685/31.50472"/>
  <p:tag name="EE4P_AGENDAWIZARD_CONTENT" val="/17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Topic"/>
  <p:tag name="EE4P_AGENDAWIZARD_CONTENT" val="/Introduction"/>
  <p:tag name="EE4P_AGENDAWIZARD_PROPERTIES" val="77.00465/135.25/587.7104/31.50472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ItemNo"/>
  <p:tag name="EE4P_AGENDAWIZARD_CONTENT" val="/1"/>
  <p:tag name="EE4P_AGENDAWIZARD_PROPERTIES" val="40.49992/135.25/31.50472/31.50472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634d75c-9c3e-4b22-bc68-c8e001457ed3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PageNo"/>
  <p:tag name="EE4P_AGENDAWIZARD_PROPERTIES" val="904.8554/390.7831/8.45685/31.50472"/>
  <p:tag name="EE4P_AGENDAWIZARD_CONTENT" val="/141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Topic"/>
  <p:tag name="EE4P_AGENDAWIZARD_CONTENT" val="/Embodied Action Planning"/>
  <p:tag name="EE4P_AGENDAWIZARD_PROPERTIES" val="77.00465/390.7831/587.7104/31.50472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ItemNo"/>
  <p:tag name="EE4P_AGENDAWIZARD_CONTENT" val="/4"/>
  <p:tag name="EE4P_AGENDAWIZARD_PROPERTIES" val="40.49992/390.7831/31.50472/31.50472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Element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PageNo"/>
  <p:tag name="EE4P_AGENDAWIZARD_PROPERTIES" val="904.8554/354.2784/8.45685/31.5048"/>
  <p:tag name="EE4P_AGENDAWIZARD_CONTENT" val="/139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Topic"/>
  <p:tag name="EE4P_AGENDAWIZARD_CONTENT" val="/Planning utilizing the VLMs"/>
  <p:tag name="EE4P_AGENDAWIZARD_PROPERTIES" val="113.5094/354.2784/551.2057/31.5048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Topic"/>
  <p:tag name="EE4P_AGENDAWIZARD_CONTENT" val="/Tracked Robots"/>
  <p:tag name="EE4P_AGENDAWIZARD_PROPERTIES" val="77.00465/244.7642/145.5325/31.50472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634d75c-9c3e-4b22-bc68-c8e001457ed3_ItemNo"/>
  <p:tag name="EE4P_AGENDAWIZARD_CONTENT" val="/3.4"/>
  <p:tag name="EE4P_AGENDAWIZARD_PROPERTIES" val="77.00465/354.2784/31.50472/31.5048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PageNo"/>
  <p:tag name="EE4P_AGENDAWIZARD_PROPERTIES" val="904.8554/317.7736/8.45685/31.50472"/>
  <p:tag name="EE4P_AGENDAWIZARD_CONTENT" val="/137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Topic"/>
  <p:tag name="EE4P_AGENDAWIZARD_CONTENT" val="/Planning utilizing the visual information from embodied perception model"/>
  <p:tag name="EE4P_AGENDAWIZARD_PROPERTIES" val="113.5094/317.7736/551.2057/31.50472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2bc900-8e29-4e9f-bc1b-c9eb72ae30b7_ItemNo"/>
  <p:tag name="EE4P_AGENDAWIZARD_CONTENT" val="/3.3"/>
  <p:tag name="EE4P_AGENDAWIZARD_PROPERTIES" val="77.00465/317.7736/31.50472/31.50472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PageNo"/>
  <p:tag name="EE4P_AGENDAWIZARD_PROPERTIES" val="904.8554/281.2689/8.45685/31.50472"/>
  <p:tag name="EE4P_AGENDAWIZARD_CONTENT" val="/135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Topic"/>
  <p:tag name="EE4P_AGENDAWIZARD_CONTENT" val="/Planning utilizing the Emergent Capabilities of LLMs"/>
  <p:tag name="EE4P_AGENDAWIZARD_PROPERTIES" val="113.5094/281.2689/551.2057/31.50472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910f72-0685-4cd2-9f71-cefc8c70e099_ItemNo"/>
  <p:tag name="EE4P_AGENDAWIZARD_CONTENT" val="/3.2"/>
  <p:tag name="EE4P_AGENDAWIZARD_PROPERTIES" val="77.00465/281.2689/31.50472/31.50472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PageNo"/>
  <p:tag name="EE4P_AGENDAWIZARD_PROPERTIES" val="904.8554/244.7642/8.45685/31.50472"/>
  <p:tag name="EE4P_AGENDAWIZARD_CONTENT" val="/133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Topic"/>
  <p:tag name="EE4P_AGENDAWIZARD_CONTENT" val="/Introduction"/>
  <p:tag name="EE4P_AGENDAWIZARD_PROPERTIES" val="113.5094/244.7642/551.2057/31.50472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177b66-0d59-4daf-8adb-c2bf8581c1c0_ItemNo"/>
  <p:tag name="EE4P_AGENDAWIZARD_CONTENT" val="/3.1"/>
  <p:tag name="EE4P_AGENDAWIZARD_PROPERTIES" val="77.00465/244.7642/31.50472/31.5047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ItemNo"/>
  <p:tag name="EE4P_AGENDAWIZARD_CONTENT" val="/4"/>
  <p:tag name="EE4P_AGENDAWIZARD_PROPERTIES" val="40.49992/244.7642/31.50472/31.50472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PageNo"/>
  <p:tag name="EE4P_AGENDAWIZARD_PROPERTIES" val="904.8554/208.2594/8.45685/31.50472"/>
  <p:tag name="EE4P_AGENDAWIZARD_CONTENT" val="/131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Topic"/>
  <p:tag name="EE4P_AGENDAWIZARD_CONTENT" val="/Embodied Task Planning"/>
  <p:tag name="EE4P_AGENDAWIZARD_PROPERTIES" val="77.00465/208.2594/587.7104/31.50472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ItemNo"/>
  <p:tag name="EE4P_AGENDAWIZARD_CONTENT" val="/3"/>
  <p:tag name="EE4P_AGENDAWIZARD_PROPERTIES" val="40.49992/208.2594/31.50472/31.50472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PageNo"/>
  <p:tag name="EE4P_AGENDAWIZARD_PROPERTIES" val="904.8554/171.7547/8.45685/31.50472"/>
  <p:tag name="EE4P_AGENDAWIZARD_CONTENT" val="/129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Topic"/>
  <p:tag name="EE4P_AGENDAWIZARD_CONTENT" val="/Embodied Multimodal Foundation Model"/>
  <p:tag name="EE4P_AGENDAWIZARD_PROPERTIES" val="77.00465/171.7547/587.7104/31.50472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ItemNo"/>
  <p:tag name="EE4P_AGENDAWIZARD_CONTENT" val="/2"/>
  <p:tag name="EE4P_AGENDAWIZARD_PROPERTIES" val="40.49992/171.7547/31.50472/31.50472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PageNo"/>
  <p:tag name="EE4P_AGENDAWIZARD_PROPERTIES" val="904.8554/135.25/8.45685/31.50472"/>
  <p:tag name="EE4P_AGENDAWIZARD_CONTENT" val="/127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Topic"/>
  <p:tag name="EE4P_AGENDAWIZARD_CONTENT" val="/Introduction"/>
  <p:tag name="EE4P_AGENDAWIZARD_PROPERTIES" val="77.00465/135.25/587.7104/31.50472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ItemNo"/>
  <p:tag name="EE4P_AGENDAWIZARD_CONTENT" val="/1"/>
  <p:tag name="EE4P_AGENDAWIZARD_PROPERTIES" val="40.49992/135.25/31.50472/31.50472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Element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8cfb65e-70e8-41a7-8879-1b50e375f9ea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PageNo"/>
  <p:tag name="EE4P_AGENDAWIZARD_PROPERTIES" val="904.8554/354.2784/8.45685/31.5048"/>
  <p:tag name="EE4P_AGENDAWIZARD_CONTENT" val="/147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Topic"/>
  <p:tag name="EE4P_AGENDAWIZARD_CONTENT" val="/Action utilizing VLA model"/>
  <p:tag name="EE4P_AGENDAWIZARD_PROPERTIES" val="113.5094/354.2784/551.2057/31.5048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ItemNo"/>
  <p:tag name="EE4P_AGENDAWIZARD_CONTENT" val="/4.3"/>
  <p:tag name="EE4P_AGENDAWIZARD_PROPERTIES" val="77.00465/354.2784/31.50472/31.5048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PageNo"/>
  <p:tag name="EE4P_AGENDAWIZARD_PROPERTIES" val="904.8554/317.7736/8.45685/31.50472"/>
  <p:tag name="EE4P_AGENDAWIZARD_CONTENT" val="/145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Topic"/>
  <p:tag name="EE4P_AGENDAWIZARD_CONTENT" val="/Action utilizing APIs"/>
  <p:tag name="EE4P_AGENDAWIZARD_PROPERTIES" val="113.5094/317.7736/551.2057/31.50472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ItemNo"/>
  <p:tag name="EE4P_AGENDAWIZARD_CONTENT" val="/4.2"/>
  <p:tag name="EE4P_AGENDAWIZARD_PROPERTIES" val="77.00465/317.7736/31.50472/31.50472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PageNo"/>
  <p:tag name="EE4P_AGENDAWIZARD_PROPERTIES" val="904.8554/281.2689/8.45685/31.50472"/>
  <p:tag name="EE4P_AGENDAWIZARD_CONTENT" val="/143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Topic"/>
  <p:tag name="EE4P_AGENDAWIZARD_CONTENT" val="/Introduction"/>
  <p:tag name="EE4P_AGENDAWIZARD_PROPERTIES" val="113.5094/281.2689/551.2057/31.50472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ItemNo"/>
  <p:tag name="EE4P_AGENDAWIZARD_CONTENT" val="/4.1"/>
  <p:tag name="EE4P_AGENDAWIZARD_PROPERTIES" val="77.00465/281.2689/31.50472/31.5047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PageNo"/>
  <p:tag name="EE4P_AGENDAWIZARD_PROPERTIES" val="904.8554/208.2594/8.45685/31.50472"/>
  <p:tag name="EE4P_AGENDAWIZARD_CONTENT" val="/15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Element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PageNo"/>
  <p:tag name="EE4P_AGENDAWIZARD_PROPERTIES" val="904.8554/244.7642/8.45685/31.50472"/>
  <p:tag name="EE4P_AGENDAWIZARD_CONTENT" val="/141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Topic"/>
  <p:tag name="EE4P_AGENDAWIZARD_CONTENT" val="/Embodied Action Planning"/>
  <p:tag name="EE4P_AGENDAWIZARD_PROPERTIES" val="77.00465/244.7642/587.7104/31.50472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ItemNo"/>
  <p:tag name="EE4P_AGENDAWIZARD_CONTENT" val="/4"/>
  <p:tag name="EE4P_AGENDAWIZARD_PROPERTIES" val="40.49992/244.7642/31.50472/31.50472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PageNo"/>
  <p:tag name="EE4P_AGENDAWIZARD_PROPERTIES" val="904.8554/208.2594/8.45685/31.50472"/>
  <p:tag name="EE4P_AGENDAWIZARD_CONTENT" val="/131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Topic"/>
  <p:tag name="EE4P_AGENDAWIZARD_CONTENT" val="/Embodied Task Planning"/>
  <p:tag name="EE4P_AGENDAWIZARD_PROPERTIES" val="77.00465/208.2594/587.7104/31.50472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ItemNo"/>
  <p:tag name="EE4P_AGENDAWIZARD_CONTENT" val="/3"/>
  <p:tag name="EE4P_AGENDAWIZARD_PROPERTIES" val="40.49992/208.2594/31.50472/31.50472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PageNo"/>
  <p:tag name="EE4P_AGENDAWIZARD_PROPERTIES" val="904.8554/171.7547/8.45685/31.50472"/>
  <p:tag name="EE4P_AGENDAWIZARD_CONTENT" val="/129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Topic"/>
  <p:tag name="EE4P_AGENDAWIZARD_CONTENT" val="/Embodied Multimodal Foundation Model"/>
  <p:tag name="EE4P_AGENDAWIZARD_PROPERTIES" val="77.00465/171.7547/587.7104/31.50472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ItemNo"/>
  <p:tag name="EE4P_AGENDAWIZARD_CONTENT" val="/2"/>
  <p:tag name="EE4P_AGENDAWIZARD_PROPERTIES" val="40.49992/171.7547/31.50472/31.5047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Topic"/>
  <p:tag name="EE4P_AGENDAWIZARD_CONTENT" val="/Wheeled Robots"/>
  <p:tag name="EE4P_AGENDAWIZARD_PROPERTIES" val="77.00465/208.2594/145.5325/31.50472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PageNo"/>
  <p:tag name="EE4P_AGENDAWIZARD_PROPERTIES" val="904.8554/135.25/8.45685/31.50472"/>
  <p:tag name="EE4P_AGENDAWIZARD_CONTENT" val="/127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Topic"/>
  <p:tag name="EE4P_AGENDAWIZARD_CONTENT" val="/Introduction"/>
  <p:tag name="EE4P_AGENDAWIZARD_PROPERTIES" val="77.00465/135.25/587.7104/31.50472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ItemNo"/>
  <p:tag name="EE4P_AGENDAWIZARD_CONTENT" val="/1"/>
  <p:tag name="EE4P_AGENDAWIZARD_PROPERTIES" val="40.49992/135.25/31.50472/31.50472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66ba090-89f9-4c6c-abb7-d091a89169c1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PageNo"/>
  <p:tag name="EE4P_AGENDAWIZARD_PROPERTIES" val="904.8554/354.2784/8.45685/31.5048"/>
  <p:tag name="EE4P_AGENDAWIZARD_CONTENT" val="/147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Topic"/>
  <p:tag name="EE4P_AGENDAWIZARD_CONTENT" val="/Action utilizing VLA model"/>
  <p:tag name="EE4P_AGENDAWIZARD_PROPERTIES" val="113.5094/354.2784/551.2057/31.5048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ItemNo"/>
  <p:tag name="EE4P_AGENDAWIZARD_CONTENT" val="/4.3"/>
  <p:tag name="EE4P_AGENDAWIZARD_PROPERTIES" val="77.00465/354.2784/31.50472/31.5048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PageNo"/>
  <p:tag name="EE4P_AGENDAWIZARD_PROPERTIES" val="904.8554/317.7736/8.45685/31.50472"/>
  <p:tag name="EE4P_AGENDAWIZARD_CONTENT" val="/145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Topic"/>
  <p:tag name="EE4P_AGENDAWIZARD_CONTENT" val="/Action utilizing APIs"/>
  <p:tag name="EE4P_AGENDAWIZARD_PROPERTIES" val="113.5094/317.7736/551.2057/31.5047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ItemNo"/>
  <p:tag name="EE4P_AGENDAWIZARD_CONTENT" val="/3"/>
  <p:tag name="EE4P_AGENDAWIZARD_PROPERTIES" val="40.49992/208.2594/31.50472/31.50472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ItemNo"/>
  <p:tag name="EE4P_AGENDAWIZARD_CONTENT" val="/4.2"/>
  <p:tag name="EE4P_AGENDAWIZARD_PROPERTIES" val="77.00465/317.7736/31.50472/31.50472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Element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PageNo"/>
  <p:tag name="EE4P_AGENDAWIZARD_PROPERTIES" val="904.8554/281.2689/8.45685/31.50472"/>
  <p:tag name="EE4P_AGENDAWIZARD_CONTENT" val="/143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Topic"/>
  <p:tag name="EE4P_AGENDAWIZARD_CONTENT" val="/Introduction"/>
  <p:tag name="EE4P_AGENDAWIZARD_PROPERTIES" val="113.5094/281.2689/551.2057/31.50472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ItemNo"/>
  <p:tag name="EE4P_AGENDAWIZARD_CONTENT" val="/4.1"/>
  <p:tag name="EE4P_AGENDAWIZARD_PROPERTIES" val="77.00465/281.2689/31.50472/31.50472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PageNo"/>
  <p:tag name="EE4P_AGENDAWIZARD_PROPERTIES" val="904.8554/244.7642/8.45685/31.50472"/>
  <p:tag name="EE4P_AGENDAWIZARD_CONTENT" val="/141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Topic"/>
  <p:tag name="EE4P_AGENDAWIZARD_CONTENT" val="/Embodied Action Planning"/>
  <p:tag name="EE4P_AGENDAWIZARD_PROPERTIES" val="77.00465/244.7642/587.7104/31.50472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ItemNo"/>
  <p:tag name="EE4P_AGENDAWIZARD_CONTENT" val="/4"/>
  <p:tag name="EE4P_AGENDAWIZARD_PROPERTIES" val="40.49992/244.7642/31.50472/31.50472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PageNo"/>
  <p:tag name="EE4P_AGENDAWIZARD_PROPERTIES" val="904.8554/208.2594/8.45685/31.50472"/>
  <p:tag name="EE4P_AGENDAWIZARD_CONTENT" val="/131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Topic"/>
  <p:tag name="EE4P_AGENDAWIZARD_CONTENT" val="/Embodied Task Planning"/>
  <p:tag name="EE4P_AGENDAWIZARD_PROPERTIES" val="77.00465/208.2594/587.7104/31.5047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PageNo"/>
  <p:tag name="EE4P_AGENDAWIZARD_PROPERTIES" val="904.8554/171.7547/8.45685/31.50472"/>
  <p:tag name="EE4P_AGENDAWIZARD_CONTENT" val="/13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ItemNo"/>
  <p:tag name="EE4P_AGENDAWIZARD_CONTENT" val="/3"/>
  <p:tag name="EE4P_AGENDAWIZARD_PROPERTIES" val="40.49992/208.2594/31.50472/31.50472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PageNo"/>
  <p:tag name="EE4P_AGENDAWIZARD_PROPERTIES" val="904.8554/171.7547/8.45685/31.50472"/>
  <p:tag name="EE4P_AGENDAWIZARD_CONTENT" val="/129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Topic"/>
  <p:tag name="EE4P_AGENDAWIZARD_CONTENT" val="/Embodied Multimodal Foundation Model"/>
  <p:tag name="EE4P_AGENDAWIZARD_PROPERTIES" val="77.00465/171.7547/587.7104/31.50472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ItemNo"/>
  <p:tag name="EE4P_AGENDAWIZARD_CONTENT" val="/2"/>
  <p:tag name="EE4P_AGENDAWIZARD_PROPERTIES" val="40.49992/171.7547/31.50472/31.50472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PageNo"/>
  <p:tag name="EE4P_AGENDAWIZARD_PROPERTIES" val="904.8554/135.25/8.45685/31.50472"/>
  <p:tag name="EE4P_AGENDAWIZARD_CONTENT" val="/127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Topic"/>
  <p:tag name="EE4P_AGENDAWIZARD_CONTENT" val="/Introduction"/>
  <p:tag name="EE4P_AGENDAWIZARD_PROPERTIES" val="77.00465/135.25/587.7104/31.50472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ItemNo"/>
  <p:tag name="EE4P_AGENDAWIZARD_CONTENT" val="/1"/>
  <p:tag name="EE4P_AGENDAWIZARD_PROPERTIES" val="40.49992/135.25/31.50472/31.50472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b9f091a-1059-4b47-b866-db164c1f044a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PageNo"/>
  <p:tag name="EE4P_AGENDAWIZARD_PROPERTIES" val="904.8554/354.2784/8.45685/31.5048"/>
  <p:tag name="EE4P_AGENDAWIZARD_CONTENT" val="/14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5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Topic"/>
  <p:tag name="EE4P_AGENDAWIZARD_CONTENT" val="/Fixed-base Robots"/>
  <p:tag name="EE4P_AGENDAWIZARD_PROPERTIES" val="77.00465/171.7547/145.5325/31.50472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Topic"/>
  <p:tag name="EE4P_AGENDAWIZARD_CONTENT" val="/Action utilizing VLA model"/>
  <p:tag name="EE4P_AGENDAWIZARD_PROPERTIES" val="113.5094/354.2784/551.2057/31.5048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ItemNo"/>
  <p:tag name="EE4P_AGENDAWIZARD_CONTENT" val="/4.3"/>
  <p:tag name="EE4P_AGENDAWIZARD_PROPERTIES" val="77.00465/354.2784/31.50472/31.5048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Element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PageNo"/>
  <p:tag name="EE4P_AGENDAWIZARD_PROPERTIES" val="904.8554/317.7736/8.45685/31.50472"/>
  <p:tag name="EE4P_AGENDAWIZARD_CONTENT" val="/145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Topic"/>
  <p:tag name="EE4P_AGENDAWIZARD_CONTENT" val="/Action utilizing APIs"/>
  <p:tag name="EE4P_AGENDAWIZARD_PROPERTIES" val="113.5094/317.7736/551.2057/31.50472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ItemNo"/>
  <p:tag name="EE4P_AGENDAWIZARD_CONTENT" val="/4.2"/>
  <p:tag name="EE4P_AGENDAWIZARD_PROPERTIES" val="77.00465/317.7736/31.50472/31.50472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PageNo"/>
  <p:tag name="EE4P_AGENDAWIZARD_PROPERTIES" val="904.8554/281.2689/8.45685/31.50472"/>
  <p:tag name="EE4P_AGENDAWIZARD_CONTENT" val="/143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Topic"/>
  <p:tag name="EE4P_AGENDAWIZARD_CONTENT" val="/Introduction"/>
  <p:tag name="EE4P_AGENDAWIZARD_PROPERTIES" val="113.5094/281.2689/551.2057/31.50472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ItemNo"/>
  <p:tag name="EE4P_AGENDAWIZARD_CONTENT" val="/4.1"/>
  <p:tag name="EE4P_AGENDAWIZARD_PROPERTIES" val="77.00465/281.2689/31.50472/31.50472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PageNo"/>
  <p:tag name="EE4P_AGENDAWIZARD_PROPERTIES" val="904.8554/244.7642/8.45685/31.50472"/>
  <p:tag name="EE4P_AGENDAWIZARD_CONTENT" val="/14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ItemNo"/>
  <p:tag name="EE4P_AGENDAWIZARD_CONTENT" val="/2"/>
  <p:tag name="EE4P_AGENDAWIZARD_PROPERTIES" val="40.49992/171.7547/31.50472/31.50472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Topic"/>
  <p:tag name="EE4P_AGENDAWIZARD_CONTENT" val="/Embodied Action Planning"/>
  <p:tag name="EE4P_AGENDAWIZARD_PROPERTIES" val="77.00465/244.7642/587.7104/31.50472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ItemNo"/>
  <p:tag name="EE4P_AGENDAWIZARD_CONTENT" val="/4"/>
  <p:tag name="EE4P_AGENDAWIZARD_PROPERTIES" val="40.49992/244.7642/31.50472/31.50472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PageNo"/>
  <p:tag name="EE4P_AGENDAWIZARD_PROPERTIES" val="904.8554/208.2594/8.45685/31.50472"/>
  <p:tag name="EE4P_AGENDAWIZARD_CONTENT" val="/131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Topic"/>
  <p:tag name="EE4P_AGENDAWIZARD_CONTENT" val="/Embodied Task Planning"/>
  <p:tag name="EE4P_AGENDAWIZARD_PROPERTIES" val="77.00465/208.2594/587.7104/31.50472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ItemNo"/>
  <p:tag name="EE4P_AGENDAWIZARD_CONTENT" val="/3"/>
  <p:tag name="EE4P_AGENDAWIZARD_PROPERTIES" val="40.49992/208.2594/31.50472/31.50472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PageNo"/>
  <p:tag name="EE4P_AGENDAWIZARD_PROPERTIES" val="904.8554/171.7547/8.45685/31.50472"/>
  <p:tag name="EE4P_AGENDAWIZARD_CONTENT" val="/129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Topic"/>
  <p:tag name="EE4P_AGENDAWIZARD_CONTENT" val="/Embodied Multimodal Foundation Model"/>
  <p:tag name="EE4P_AGENDAWIZARD_PROPERTIES" val="77.00465/171.7547/587.7104/31.50472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ItemNo"/>
  <p:tag name="EE4P_AGENDAWIZARD_CONTENT" val="/2"/>
  <p:tag name="EE4P_AGENDAWIZARD_PROPERTIES" val="40.49992/171.7547/31.50472/31.50472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PageNo"/>
  <p:tag name="EE4P_AGENDAWIZARD_PROPERTIES" val="904.8554/135.25/8.45685/31.50472"/>
  <p:tag name="EE4P_AGENDAWIZARD_CONTENT" val="/127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Topic"/>
  <p:tag name="EE4P_AGENDAWIZARD_CONTENT" val="/Introduction"/>
  <p:tag name="EE4P_AGENDAWIZARD_PROPERTIES" val="77.00465/135.25/587.7104/31.5047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PageNo"/>
  <p:tag name="EE4P_AGENDAWIZARD_PROPERTIES" val="904.8554/135.25/8.45685/31.50472"/>
  <p:tag name="EE4P_AGENDAWIZARD_CONTENT" val="/11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ItemNo"/>
  <p:tag name="EE4P_AGENDAWIZARD_CONTENT" val="/1"/>
  <p:tag name="EE4P_AGENDAWIZARD_PROPERTIES" val="40.49992/135.25/31.50472/31.50472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e5a6348-d765-4f58-8929-d3d5aa3325d6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Element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PageNo"/>
  <p:tag name="EE4P_AGENDAWIZARD_PROPERTIES" val="904.8554/354.2784/8.45685/31.5048"/>
  <p:tag name="EE4P_AGENDAWIZARD_CONTENT" val="/147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Topic"/>
  <p:tag name="EE4P_AGENDAWIZARD_CONTENT" val="/Action utilizing VLA model"/>
  <p:tag name="EE4P_AGENDAWIZARD_PROPERTIES" val="113.5094/354.2784/551.2057/31.5048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e5a6348-d765-4f58-8929-d3d5aa3325d6_ItemNo"/>
  <p:tag name="EE4P_AGENDAWIZARD_CONTENT" val="/4.3"/>
  <p:tag name="EE4P_AGENDAWIZARD_PROPERTIES" val="77.00465/354.2784/31.50472/31.5048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PageNo"/>
  <p:tag name="EE4P_AGENDAWIZARD_PROPERTIES" val="904.8554/317.7736/8.45685/31.50472"/>
  <p:tag name="EE4P_AGENDAWIZARD_CONTENT" val="/145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Topic"/>
  <p:tag name="EE4P_AGENDAWIZARD_CONTENT" val="/Action utilizing APIs"/>
  <p:tag name="EE4P_AGENDAWIZARD_PROPERTIES" val="113.5094/317.7736/551.2057/31.50472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9f091a-1059-4b47-b866-db164c1f044a_ItemNo"/>
  <p:tag name="EE4P_AGENDAWIZARD_CONTENT" val="/4.2"/>
  <p:tag name="EE4P_AGENDAWIZARD_PROPERTIES" val="77.00465/317.7736/31.50472/31.5047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Topic"/>
  <p:tag name="EE4P_AGENDAWIZARD_CONTENT" val="/Introduction"/>
  <p:tag name="EE4P_AGENDAWIZARD_PROPERTIES" val="77.00465/135.25/145.5325/31.50472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PageNo"/>
  <p:tag name="EE4P_AGENDAWIZARD_PROPERTIES" val="904.8554/281.2689/8.45685/31.50472"/>
  <p:tag name="EE4P_AGENDAWIZARD_CONTENT" val="/143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Topic"/>
  <p:tag name="EE4P_AGENDAWIZARD_CONTENT" val="/Introduction"/>
  <p:tag name="EE4P_AGENDAWIZARD_PROPERTIES" val="113.5094/281.2689/551.2057/31.50472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6ba090-89f9-4c6c-abb7-d091a89169c1_ItemNo"/>
  <p:tag name="EE4P_AGENDAWIZARD_CONTENT" val="/4.1"/>
  <p:tag name="EE4P_AGENDAWIZARD_PROPERTIES" val="77.00465/281.2689/31.50472/31.50472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PageNo"/>
  <p:tag name="EE4P_AGENDAWIZARD_PROPERTIES" val="904.8554/244.7642/8.45685/31.50472"/>
  <p:tag name="EE4P_AGENDAWIZARD_CONTENT" val="/141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Topic"/>
  <p:tag name="EE4P_AGENDAWIZARD_CONTENT" val="/Embodied Action Planning"/>
  <p:tag name="EE4P_AGENDAWIZARD_PROPERTIES" val="77.00465/244.7642/587.7104/31.50472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cfb65e-70e8-41a7-8879-1b50e375f9ea_ItemNo"/>
  <p:tag name="EE4P_AGENDAWIZARD_CONTENT" val="/4"/>
  <p:tag name="EE4P_AGENDAWIZARD_PROPERTIES" val="40.49992/244.7642/31.50472/31.50472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PageNo"/>
  <p:tag name="EE4P_AGENDAWIZARD_PROPERTIES" val="904.8554/208.2594/8.45685/31.50472"/>
  <p:tag name="EE4P_AGENDAWIZARD_CONTENT" val="/131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Topic"/>
  <p:tag name="EE4P_AGENDAWIZARD_CONTENT" val="/Embodied Task Planning"/>
  <p:tag name="EE4P_AGENDAWIZARD_PROPERTIES" val="77.00465/208.2594/587.7104/31.50472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313a3bf-972a-4020-ac80-414f000d153f_ItemNo"/>
  <p:tag name="EE4P_AGENDAWIZARD_CONTENT" val="/3"/>
  <p:tag name="EE4P_AGENDAWIZARD_PROPERTIES" val="40.49992/208.2594/31.50472/31.50472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PageNo"/>
  <p:tag name="EE4P_AGENDAWIZARD_PROPERTIES" val="904.8554/171.7547/8.45685/31.50472"/>
  <p:tag name="EE4P_AGENDAWIZARD_CONTENT" val="/129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ItemNo"/>
  <p:tag name="EE4P_AGENDAWIZARD_CONTENT" val="/1"/>
  <p:tag name="EE4P_AGENDAWIZARD_PROPERTIES" val="40.49992/135.25/31.50472/31.50472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Topic"/>
  <p:tag name="EE4P_AGENDAWIZARD_CONTENT" val="/Embodied Multimodal Foundation Model"/>
  <p:tag name="EE4P_AGENDAWIZARD_PROPERTIES" val="77.00465/171.7547/587.7104/31.50472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51189d9-a7b4-400a-9bf7-d8f1268b6aaa_ItemNo"/>
  <p:tag name="EE4P_AGENDAWIZARD_CONTENT" val="/2"/>
  <p:tag name="EE4P_AGENDAWIZARD_PROPERTIES" val="40.49992/171.7547/31.50472/31.50472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PageNo"/>
  <p:tag name="EE4P_AGENDAWIZARD_PROPERTIES" val="904.8554/135.25/8.45685/31.50472"/>
  <p:tag name="EE4P_AGENDAWIZARD_CONTENT" val="/127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Topic"/>
  <p:tag name="EE4P_AGENDAWIZARD_CONTENT" val="/Introduction"/>
  <p:tag name="EE4P_AGENDAWIZARD_PROPERTIES" val="77.00465/135.25/587.7104/31.50472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be7a2d-7264-4b68-8ac3-01c050178dfa_ItemNo"/>
  <p:tag name="EE4P_AGENDAWIZARD_CONTENT" val="/1"/>
  <p:tag name="EE4P_AGENDAWIZARD_PROPERTIES" val="40.49992/135.25/31.50472/31.50472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c58e9c7-5a89-438d-b39d-d315e205025c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185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&amp; Future Directions"/>
  <p:tag name="EE4P_AGENDAWIZARD_PROPERTIES" val="77.00465/390.7831/233.3821/31.50472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Element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49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33.3821/31.5048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25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33.3821/31.50472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95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33.3821/31.50472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55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33.3821/31.50472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25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33.3821/31.50472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9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33.3821/31.50472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33.3821/31.50472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bc01936-e15e-4a39-8cf0-fa1187d1fd47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281.2689/8.45685/31.50472"/>
  <p:tag name="EE4P_AGENDAWIZARD_CONTENT" val="/183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281.2689/261.3039/31.50472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281.2689/31.50472/31.50472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244.7642/8.45685/31.50472"/>
  <p:tag name="EE4P_AGENDAWIZARD_CONTENT" val="/173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244.7642/261.3039/31.50472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244.7642/31.50472/31.5047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da464e7-3bc2-4c05-9aaa-fed99bfa0207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Element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PageNo"/>
  <p:tag name="EE4P_AGENDAWIZARD_PROPERTIES" val="904.8554/354.2784/8.45685/31.5048"/>
  <p:tag name="EE4P_AGENDAWIZARD_CONTENT" val="/23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223e5eb-8d86-4678-8a36-2499c0368022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390.7831/8.45685/31.50472"/>
  <p:tag name="EE4P_AGENDAWIZARD_CONTENT" val="/173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390.7831/261.3039/31.50472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390.7831/31.50472/31.50472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354.2784/8.45685/31.5048"/>
  <p:tag name="EE4P_AGENDAWIZARD_CONTENT" val="/163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354.2784/261.3039/31.504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33.3821/31.5047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Topic"/>
  <p:tag name="EE4P_AGENDAWIZARD_CONTENT" val="/Biomimetic Robots"/>
  <p:tag name="EE4P_AGENDAWIZARD_PROPERTIES" val="77.00465/354.2784/145.5325/31.5048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354.2784/31.50472/31.5048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PageNo"/>
  <p:tag name="EE4P_AGENDAWIZARD_PROPERTIES" val="904.8554/317.7736/8.45685/31.50472"/>
  <p:tag name="EE4P_AGENDAWIZARD_CONTENT" val="/161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Topic"/>
  <p:tag name="EE4P_AGENDAWIZARD_CONTENT" val="/Knowledge-driven Methods"/>
  <p:tag name="EE4P_AGENDAWIZARD_PROPERTIES" val="113.5094/317.7736/224.7991/31.50472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ItemNo"/>
  <p:tag name="EE4P_AGENDAWIZARD_CONTENT" val="/2.4"/>
  <p:tag name="EE4P_AGENDAWIZARD_PROPERTIES" val="77.00465/317.7736/31.50472/31.50472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PageNo"/>
  <p:tag name="EE4P_AGENDAWIZARD_PROPERTIES" val="904.8554/281.2689/8.45685/31.50472"/>
  <p:tag name="EE4P_AGENDAWIZARD_CONTENT" val="/159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Topic"/>
  <p:tag name="EE4P_AGENDAWIZARD_CONTENT" val="/Prediction-based Methods"/>
  <p:tag name="EE4P_AGENDAWIZARD_PROPERTIES" val="113.5094/281.2689/224.7991/31.50472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ItemNo"/>
  <p:tag name="EE4P_AGENDAWIZARD_CONTENT" val="/2.3"/>
  <p:tag name="EE4P_AGENDAWIZARD_PROPERTIES" val="77.00465/281.2689/31.50472/31.50472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PageNo"/>
  <p:tag name="EE4P_AGENDAWIZARD_PROPERTIES" val="904.8554/244.7642/8.45685/31.50472"/>
  <p:tag name="EE4P_AGENDAWIZARD_CONTENT" val="/157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Topic"/>
  <p:tag name="EE4P_AGENDAWIZARD_CONTENT" val="/Generation-based Methods"/>
  <p:tag name="EE4P_AGENDAWIZARD_PROPERTIES" val="113.5094/244.7642/224.7991/31.50472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ItemNo"/>
  <p:tag name="EE4P_AGENDAWIZARD_CONTENT" val="/2.2"/>
  <p:tag name="EE4P_AGENDAWIZARD_PROPERTIES" val="77.00465/244.7642/31.50472/31.5047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ItemNo"/>
  <p:tag name="EE4P_AGENDAWIZARD_CONTENT" val="/7"/>
  <p:tag name="EE4P_AGENDAWIZARD_PROPERTIES" val="40.49992/354.2784/31.50472/31.5048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PageNo"/>
  <p:tag name="EE4P_AGENDAWIZARD_PROPERTIES" val="904.8554/208.2594/8.45685/31.50472"/>
  <p:tag name="EE4P_AGENDAWIZARD_CONTENT" val="/155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Topic"/>
  <p:tag name="EE4P_AGENDAWIZARD_CONTENT" val="/Introduction"/>
  <p:tag name="EE4P_AGENDAWIZARD_PROPERTIES" val="113.5094/208.2594/224.7991/31.50472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ItemNo"/>
  <p:tag name="EE4P_AGENDAWIZARD_CONTENT" val="/2.1"/>
  <p:tag name="EE4P_AGENDAWIZARD_PROPERTIES" val="77.00465/208.2594/31.50472/31.50472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Element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PageNo"/>
  <p:tag name="EE4P_AGENDAWIZARD_PROPERTIES" val="904.8554/317.7736/8.45685/31.50472"/>
  <p:tag name="EE4P_AGENDAWIZARD_CONTENT" val="/21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bb57237-a722-41cd-af03-dd48e1113687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390.7831/8.45685/31.50472"/>
  <p:tag name="EE4P_AGENDAWIZARD_CONTENT" val="/173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390.7831/261.3039/31.50472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390.7831/31.50472/31.50472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354.2784/8.45685/31.5048"/>
  <p:tag name="EE4P_AGENDAWIZARD_CONTENT" val="/163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354.2784/261.3039/31.5048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Topic"/>
  <p:tag name="EE4P_AGENDAWIZARD_CONTENT" val="/Humanoid Robots"/>
  <p:tag name="EE4P_AGENDAWIZARD_PROPERTIES" val="77.00465/317.7736/145.5325/31.50472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354.2784/31.50472/31.5048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PageNo"/>
  <p:tag name="EE4P_AGENDAWIZARD_PROPERTIES" val="904.8554/317.7736/8.45685/31.50472"/>
  <p:tag name="EE4P_AGENDAWIZARD_CONTENT" val="/161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Topic"/>
  <p:tag name="EE4P_AGENDAWIZARD_CONTENT" val="/Knowledge-driven Methods"/>
  <p:tag name="EE4P_AGENDAWIZARD_PROPERTIES" val="113.5094/317.7736/224.7991/31.50472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ItemNo"/>
  <p:tag name="EE4P_AGENDAWIZARD_CONTENT" val="/2.4"/>
  <p:tag name="EE4P_AGENDAWIZARD_PROPERTIES" val="77.00465/317.7736/31.50472/31.50472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PageNo"/>
  <p:tag name="EE4P_AGENDAWIZARD_PROPERTIES" val="904.8554/281.2689/8.45685/31.50472"/>
  <p:tag name="EE4P_AGENDAWIZARD_CONTENT" val="/159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Topic"/>
  <p:tag name="EE4P_AGENDAWIZARD_CONTENT" val="/Prediction-based Methods"/>
  <p:tag name="EE4P_AGENDAWIZARD_PROPERTIES" val="113.5094/281.2689/224.7991/31.50472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ItemNo"/>
  <p:tag name="EE4P_AGENDAWIZARD_CONTENT" val="/2.3"/>
  <p:tag name="EE4P_AGENDAWIZARD_PROPERTIES" val="77.00465/281.2689/31.50472/31.50472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PageNo"/>
  <p:tag name="EE4P_AGENDAWIZARD_PROPERTIES" val="904.8554/244.7642/8.45685/31.50472"/>
  <p:tag name="EE4P_AGENDAWIZARD_CONTENT" val="/157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Topic"/>
  <p:tag name="EE4P_AGENDAWIZARD_CONTENT" val="/Generation-based Methods"/>
  <p:tag name="EE4P_AGENDAWIZARD_PROPERTIES" val="113.5094/244.7642/224.7991/31.50472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ItemNo"/>
  <p:tag name="EE4P_AGENDAWIZARD_CONTENT" val="/2.2"/>
  <p:tag name="EE4P_AGENDAWIZARD_PROPERTIES" val="77.00465/244.7642/31.50472/31.5047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ItemNo"/>
  <p:tag name="EE4P_AGENDAWIZARD_CONTENT" val="/6"/>
  <p:tag name="EE4P_AGENDAWIZARD_PROPERTIES" val="40.49992/317.7736/31.50472/31.50472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Element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PageNo"/>
  <p:tag name="EE4P_AGENDAWIZARD_PROPERTIES" val="904.8554/208.2594/8.45685/31.50472"/>
  <p:tag name="EE4P_AGENDAWIZARD_CONTENT" val="/155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Topic"/>
  <p:tag name="EE4P_AGENDAWIZARD_CONTENT" val="/Introduction"/>
  <p:tag name="EE4P_AGENDAWIZARD_PROPERTIES" val="113.5094/208.2594/224.7991/31.50472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ItemNo"/>
  <p:tag name="EE4P_AGENDAWIZARD_CONTENT" val="/2.1"/>
  <p:tag name="EE4P_AGENDAWIZARD_PROPERTIES" val="77.00465/208.2594/31.50472/31.50472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PageNo"/>
  <p:tag name="EE4P_AGENDAWIZARD_PROPERTIES" val="904.8554/281.2689/8.45685/31.50472"/>
  <p:tag name="EE4P_AGENDAWIZARD_CONTENT" val="/19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14f61ee-facc-431e-af9e-5113d8f0f904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390.7831/8.45685/31.50472"/>
  <p:tag name="EE4P_AGENDAWIZARD_CONTENT" val="/173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390.7831/261.3039/31.50472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390.7831/31.50472/31.50472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354.2784/8.45685/31.5048"/>
  <p:tag name="EE4P_AGENDAWIZARD_CONTENT" val="/163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354.2784/261.3039/31.5048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Topic"/>
  <p:tag name="EE4P_AGENDAWIZARD_CONTENT" val="/Quadruped Robots"/>
  <p:tag name="EE4P_AGENDAWIZARD_PROPERTIES" val="77.00465/281.2689/145.5325/31.50472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354.2784/31.50472/31.5048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PageNo"/>
  <p:tag name="EE4P_AGENDAWIZARD_PROPERTIES" val="904.8554/317.7736/8.45685/31.50472"/>
  <p:tag name="EE4P_AGENDAWIZARD_CONTENT" val="/161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Topic"/>
  <p:tag name="EE4P_AGENDAWIZARD_CONTENT" val="/Knowledge-driven Methods"/>
  <p:tag name="EE4P_AGENDAWIZARD_PROPERTIES" val="113.5094/317.7736/224.7991/31.50472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ItemNo"/>
  <p:tag name="EE4P_AGENDAWIZARD_CONTENT" val="/2.4"/>
  <p:tag name="EE4P_AGENDAWIZARD_PROPERTIES" val="77.00465/317.7736/31.50472/31.50472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PageNo"/>
  <p:tag name="EE4P_AGENDAWIZARD_PROPERTIES" val="904.8554/281.2689/8.45685/31.50472"/>
  <p:tag name="EE4P_AGENDAWIZARD_CONTENT" val="/159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Topic"/>
  <p:tag name="EE4P_AGENDAWIZARD_CONTENT" val="/Prediction-based Methods"/>
  <p:tag name="EE4P_AGENDAWIZARD_PROPERTIES" val="113.5094/281.2689/224.7991/31.50472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ItemNo"/>
  <p:tag name="EE4P_AGENDAWIZARD_CONTENT" val="/2.3"/>
  <p:tag name="EE4P_AGENDAWIZARD_PROPERTIES" val="77.00465/281.2689/31.50472/31.50472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Element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PageNo"/>
  <p:tag name="EE4P_AGENDAWIZARD_PROPERTIES" val="904.8554/244.7642/8.45685/31.50472"/>
  <p:tag name="EE4P_AGENDAWIZARD_CONTENT" val="/157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Topic"/>
  <p:tag name="EE4P_AGENDAWIZARD_CONTENT" val="/Generation-based Methods"/>
  <p:tag name="EE4P_AGENDAWIZARD_PROPERTIES" val="113.5094/244.7642/224.7991/31.5047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ItemNo"/>
  <p:tag name="EE4P_AGENDAWIZARD_CONTENT" val="/5"/>
  <p:tag name="EE4P_AGENDAWIZARD_PROPERTIES" val="40.49992/281.2689/31.50472/31.50472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ItemNo"/>
  <p:tag name="EE4P_AGENDAWIZARD_CONTENT" val="/2.2"/>
  <p:tag name="EE4P_AGENDAWIZARD_PROPERTIES" val="77.00465/244.7642/31.50472/31.50472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PageNo"/>
  <p:tag name="EE4P_AGENDAWIZARD_PROPERTIES" val="904.8554/208.2594/8.45685/31.50472"/>
  <p:tag name="EE4P_AGENDAWIZARD_CONTENT" val="/155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Topic"/>
  <p:tag name="EE4P_AGENDAWIZARD_CONTENT" val="/Introduction"/>
  <p:tag name="EE4P_AGENDAWIZARD_PROPERTIES" val="113.5094/208.2594/224.7991/31.50472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ItemNo"/>
  <p:tag name="EE4P_AGENDAWIZARD_CONTENT" val="/2.1"/>
  <p:tag name="EE4P_AGENDAWIZARD_PROPERTIES" val="77.00465/208.2594/31.50472/31.50472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Element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6ff5979-c13a-4ccd-a951-32189b4a3c1a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390.7831/8.45685/31.50472"/>
  <p:tag name="EE4P_AGENDAWIZARD_CONTENT" val="/173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390.7831/261.3039/31.50472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390.7831/31.50472/31.50472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354.2784/8.45685/31.5048"/>
  <p:tag name="EE4P_AGENDAWIZARD_CONTENT" val="/163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354.2784/261.3039/31.5048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PageNo"/>
  <p:tag name="EE4P_AGENDAWIZARD_PROPERTIES" val="904.8554/244.7642/8.45685/31.50472"/>
  <p:tag name="EE4P_AGENDAWIZARD_CONTENT" val="/17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354.2784/31.50472/31.5048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PageNo"/>
  <p:tag name="EE4P_AGENDAWIZARD_PROPERTIES" val="904.8554/317.7736/8.45685/31.50472"/>
  <p:tag name="EE4P_AGENDAWIZARD_CONTENT" val="/161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Topic"/>
  <p:tag name="EE4P_AGENDAWIZARD_CONTENT" val="/Knowledge-driven Methods"/>
  <p:tag name="EE4P_AGENDAWIZARD_PROPERTIES" val="113.5094/317.7736/224.7991/31.50472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ItemNo"/>
  <p:tag name="EE4P_AGENDAWIZARD_CONTENT" val="/2.4"/>
  <p:tag name="EE4P_AGENDAWIZARD_PROPERTIES" val="77.00465/317.7736/31.50472/31.50472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Element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PageNo"/>
  <p:tag name="EE4P_AGENDAWIZARD_PROPERTIES" val="904.8554/281.2689/8.45685/31.50472"/>
  <p:tag name="EE4P_AGENDAWIZARD_CONTENT" val="/159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Topic"/>
  <p:tag name="EE4P_AGENDAWIZARD_CONTENT" val="/Prediction-based Methods"/>
  <p:tag name="EE4P_AGENDAWIZARD_PROPERTIES" val="113.5094/281.2689/224.7991/31.50472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ItemNo"/>
  <p:tag name="EE4P_AGENDAWIZARD_CONTENT" val="/2.3"/>
  <p:tag name="EE4P_AGENDAWIZARD_PROPERTIES" val="77.00465/281.2689/31.50472/31.50472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PageNo"/>
  <p:tag name="EE4P_AGENDAWIZARD_PROPERTIES" val="904.8554/244.7642/8.45685/31.50472"/>
  <p:tag name="EE4P_AGENDAWIZARD_CONTENT" val="/157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Topic"/>
  <p:tag name="EE4P_AGENDAWIZARD_CONTENT" val="/Generation-based Methods"/>
  <p:tag name="EE4P_AGENDAWIZARD_PROPERTIES" val="113.5094/244.7642/224.7991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Topic"/>
  <p:tag name="EE4P_AGENDAWIZARD_CONTENT" val="/Tracked Robots"/>
  <p:tag name="EE4P_AGENDAWIZARD_PROPERTIES" val="77.00465/244.7642/145.5325/31.50472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ItemNo"/>
  <p:tag name="EE4P_AGENDAWIZARD_CONTENT" val="/2.2"/>
  <p:tag name="EE4P_AGENDAWIZARD_PROPERTIES" val="77.00465/244.7642/31.50472/31.50472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PageNo"/>
  <p:tag name="EE4P_AGENDAWIZARD_PROPERTIES" val="904.8554/208.2594/8.45685/31.50472"/>
  <p:tag name="EE4P_AGENDAWIZARD_CONTENT" val="/155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Topic"/>
  <p:tag name="EE4P_AGENDAWIZARD_CONTENT" val="/Introduction"/>
  <p:tag name="EE4P_AGENDAWIZARD_PROPERTIES" val="113.5094/208.2594/224.7991/31.50472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ItemNo"/>
  <p:tag name="EE4P_AGENDAWIZARD_CONTENT" val="/2.1"/>
  <p:tag name="EE4P_AGENDAWIZARD_PROPERTIES" val="77.00465/208.2594/31.50472/31.50472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ItemNo"/>
  <p:tag name="EE4P_AGENDAWIZARD_CONTENT" val="/4"/>
  <p:tag name="EE4P_AGENDAWIZARD_PROPERTIES" val="40.49992/244.7642/31.50472/31.50472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dfa8ac1-14f7-4e55-8dd8-45cbfbde56eb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390.7831/8.45685/31.50472"/>
  <p:tag name="EE4P_AGENDAWIZARD_CONTENT" val="/173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390.7831/261.3039/31.50472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390.7831/31.50472/31.50472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354.2784/8.45685/31.5048"/>
  <p:tag name="EE4P_AGENDAWIZARD_CONTENT" val="/163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354.2784/261.3039/31.5048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PageNo"/>
  <p:tag name="EE4P_AGENDAWIZARD_PROPERTIES" val="904.8554/208.2594/8.45685/31.50472"/>
  <p:tag name="EE4P_AGENDAWIZARD_CONTENT" val="/15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354.2784/31.50472/31.5048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Element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PageNo"/>
  <p:tag name="EE4P_AGENDAWIZARD_PROPERTIES" val="904.8554/317.7736/8.45685/31.50472"/>
  <p:tag name="EE4P_AGENDAWIZARD_CONTENT" val="/161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Topic"/>
  <p:tag name="EE4P_AGENDAWIZARD_CONTENT" val="/Knowledge-driven Methods"/>
  <p:tag name="EE4P_AGENDAWIZARD_PROPERTIES" val="113.5094/317.7736/224.7991/31.50472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fa8ac1-14f7-4e55-8dd8-45cbfbde56eb_ItemNo"/>
  <p:tag name="EE4P_AGENDAWIZARD_CONTENT" val="/2.4"/>
  <p:tag name="EE4P_AGENDAWIZARD_PROPERTIES" val="77.00465/317.7736/31.50472/31.50472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PageNo"/>
  <p:tag name="EE4P_AGENDAWIZARD_PROPERTIES" val="904.8554/281.2689/8.45685/31.50472"/>
  <p:tag name="EE4P_AGENDAWIZARD_CONTENT" val="/159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Topic"/>
  <p:tag name="EE4P_AGENDAWIZARD_CONTENT" val="/Prediction-based Methods"/>
  <p:tag name="EE4P_AGENDAWIZARD_PROPERTIES" val="113.5094/281.2689/224.7991/31.50472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ff5979-c13a-4ccd-a951-32189b4a3c1a_ItemNo"/>
  <p:tag name="EE4P_AGENDAWIZARD_CONTENT" val="/2.3"/>
  <p:tag name="EE4P_AGENDAWIZARD_PROPERTIES" val="77.00465/281.2689/31.50472/31.50472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PageNo"/>
  <p:tag name="EE4P_AGENDAWIZARD_PROPERTIES" val="904.8554/244.7642/8.45685/31.50472"/>
  <p:tag name="EE4P_AGENDAWIZARD_CONTENT" val="/157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Topic"/>
  <p:tag name="EE4P_AGENDAWIZARD_CONTENT" val="/Generation-based Methods"/>
  <p:tag name="EE4P_AGENDAWIZARD_PROPERTIES" val="113.5094/244.7642/224.7991/31.5047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Topic"/>
  <p:tag name="EE4P_AGENDAWIZARD_CONTENT" val="/Wheeled Robots"/>
  <p:tag name="EE4P_AGENDAWIZARD_PROPERTIES" val="77.00465/208.2594/145.5325/31.50472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14f61ee-facc-431e-af9e-5113d8f0f904_ItemNo"/>
  <p:tag name="EE4P_AGENDAWIZARD_CONTENT" val="/2.2"/>
  <p:tag name="EE4P_AGENDAWIZARD_PROPERTIES" val="77.00465/244.7642/31.50472/31.50472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PageNo"/>
  <p:tag name="EE4P_AGENDAWIZARD_PROPERTIES" val="904.8554/208.2594/8.45685/31.50472"/>
  <p:tag name="EE4P_AGENDAWIZARD_CONTENT" val="/155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Topic"/>
  <p:tag name="EE4P_AGENDAWIZARD_CONTENT" val="/Introduction"/>
  <p:tag name="EE4P_AGENDAWIZARD_PROPERTIES" val="113.5094/208.2594/224.7991/31.50472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b57237-a722-41cd-af03-dd48e1113687_ItemNo"/>
  <p:tag name="EE4P_AGENDAWIZARD_CONTENT" val="/2.1"/>
  <p:tag name="EE4P_AGENDAWIZARD_PROPERTIES" val="77.00465/208.2594/31.50472/31.50472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ItemNo"/>
  <p:tag name="EE4P_AGENDAWIZARD_CONTENT" val="/3"/>
  <p:tag name="EE4P_AGENDAWIZARD_PROPERTIES" val="40.49992/208.2594/31.50472/31.50472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6c90b23-7fd8-417f-b696-4f0705444a0a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390.7831/8.45685/31.50472"/>
  <p:tag name="EE4P_AGENDAWIZARD_CONTENT" val="/173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390.7831/261.3039/31.50472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390.7831/31.50472/31.50472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PageNo"/>
  <p:tag name="EE4P_AGENDAWIZARD_PROPERTIES" val="904.8554/354.2784/8.45685/31.5048"/>
  <p:tag name="EE4P_AGENDAWIZARD_CONTENT" val="/171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Topic"/>
  <p:tag name="EE4P_AGENDAWIZARD_CONTENT" val="/Sim2Real Paradigms"/>
  <p:tag name="EE4P_AGENDAWIZARD_PROPERTIES" val="113.5094/354.2784/224.7991/31.5048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PageNo"/>
  <p:tag name="EE4P_AGENDAWIZARD_PROPERTIES" val="904.8554/171.7547/8.45685/31.50472"/>
  <p:tag name="EE4P_AGENDAWIZARD_CONTENT" val="/13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ItemNo"/>
  <p:tag name="EE4P_AGENDAWIZARD_CONTENT" val="/3.4"/>
  <p:tag name="EE4P_AGENDAWIZARD_PROPERTIES" val="77.00465/354.2784/31.50472/31.5048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PageNo"/>
  <p:tag name="EE4P_AGENDAWIZARD_PROPERTIES" val="904.8554/317.7736/8.45685/31.50472"/>
  <p:tag name="EE4P_AGENDAWIZARD_CONTENT" val="/169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Topic"/>
  <p:tag name="EE4P_AGENDAWIZARD_CONTENT" val="/Simulated Data"/>
  <p:tag name="EE4P_AGENDAWIZARD_PROPERTIES" val="113.5094/317.7736/224.7991/31.50472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ItemNo"/>
  <p:tag name="EE4P_AGENDAWIZARD_CONTENT" val="/3.3"/>
  <p:tag name="EE4P_AGENDAWIZARD_PROPERTIES" val="77.00465/317.7736/31.50472/31.50472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PageNo"/>
  <p:tag name="EE4P_AGENDAWIZARD_PROPERTIES" val="904.8554/281.2689/8.45685/31.50472"/>
  <p:tag name="EE4P_AGENDAWIZARD_CONTENT" val="/167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Topic"/>
  <p:tag name="EE4P_AGENDAWIZARD_CONTENT" val="/Real-World Data"/>
  <p:tag name="EE4P_AGENDAWIZARD_PROPERTIES" val="113.5094/281.2689/224.7991/31.50472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ItemNo"/>
  <p:tag name="EE4P_AGENDAWIZARD_CONTENT" val="/3.2"/>
  <p:tag name="EE4P_AGENDAWIZARD_PROPERTIES" val="77.00465/281.2689/31.50472/31.50472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PageNo"/>
  <p:tag name="EE4P_AGENDAWIZARD_PROPERTIES" val="904.8554/244.7642/8.45685/31.50472"/>
  <p:tag name="EE4P_AGENDAWIZARD_CONTENT" val="/165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Topic"/>
  <p:tag name="EE4P_AGENDAWIZARD_CONTENT" val="/Introduction"/>
  <p:tag name="EE4P_AGENDAWIZARD_PROPERTIES" val="113.5094/244.7642/224.7991/31.50472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ItemNo"/>
  <p:tag name="EE4P_AGENDAWIZARD_CONTENT" val="/3.1"/>
  <p:tag name="EE4P_AGENDAWIZARD_PROPERTIES" val="77.00465/244.7642/31.50472/31.5047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Topic"/>
  <p:tag name="EE4P_AGENDAWIZARD_CONTENT" val="/Fixed-base Robots"/>
  <p:tag name="EE4P_AGENDAWIZARD_PROPERTIES" val="77.00465/171.7547/145.5325/31.50472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Element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ItemNo"/>
  <p:tag name="EE4P_AGENDAWIZARD_CONTENT" val="/2"/>
  <p:tag name="EE4P_AGENDAWIZARD_PROPERTIES" val="40.49992/171.7547/31.50472/31.50472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2f8d7a7-907d-4e46-92a5-a069ae116308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390.7831/8.45685/31.50472"/>
  <p:tag name="EE4P_AGENDAWIZARD_CONTENT" val="/173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390.7831/261.3039/31.50472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390.7831/31.50472/31.50472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PageNo"/>
  <p:tag name="EE4P_AGENDAWIZARD_PROPERTIES" val="904.8554/354.2784/8.45685/31.5048"/>
  <p:tag name="EE4P_AGENDAWIZARD_CONTENT" val="/171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Topic"/>
  <p:tag name="EE4P_AGENDAWIZARD_CONTENT" val="/Sim2Real Paradigms"/>
  <p:tag name="EE4P_AGENDAWIZARD_PROPERTIES" val="113.5094/354.2784/224.7991/31.504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PageNo"/>
  <p:tag name="EE4P_AGENDAWIZARD_PROPERTIES" val="904.8554/135.25/8.45685/31.50472"/>
  <p:tag name="EE4P_AGENDAWIZARD_CONTENT" val="/11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ItemNo"/>
  <p:tag name="EE4P_AGENDAWIZARD_CONTENT" val="/3.4"/>
  <p:tag name="EE4P_AGENDAWIZARD_PROPERTIES" val="77.00465/354.2784/31.50472/31.5048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PageNo"/>
  <p:tag name="EE4P_AGENDAWIZARD_PROPERTIES" val="904.8554/317.7736/8.45685/31.50472"/>
  <p:tag name="EE4P_AGENDAWIZARD_CONTENT" val="/169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Topic"/>
  <p:tag name="EE4P_AGENDAWIZARD_CONTENT" val="/Simulated Data"/>
  <p:tag name="EE4P_AGENDAWIZARD_PROPERTIES" val="113.5094/317.7736/224.7991/31.50472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ItemNo"/>
  <p:tag name="EE4P_AGENDAWIZARD_CONTENT" val="/3.3"/>
  <p:tag name="EE4P_AGENDAWIZARD_PROPERTIES" val="77.00465/317.7736/31.50472/31.50472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PageNo"/>
  <p:tag name="EE4P_AGENDAWIZARD_PROPERTIES" val="904.8554/281.2689/8.45685/31.50472"/>
  <p:tag name="EE4P_AGENDAWIZARD_CONTENT" val="/167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Topic"/>
  <p:tag name="EE4P_AGENDAWIZARD_CONTENT" val="/Real-World Data"/>
  <p:tag name="EE4P_AGENDAWIZARD_PROPERTIES" val="113.5094/281.2689/224.7991/31.50472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ItemNo"/>
  <p:tag name="EE4P_AGENDAWIZARD_CONTENT" val="/3.2"/>
  <p:tag name="EE4P_AGENDAWIZARD_PROPERTIES" val="77.00465/281.2689/31.50472/31.50472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Element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PageNo"/>
  <p:tag name="EE4P_AGENDAWIZARD_PROPERTIES" val="904.8554/244.7642/8.45685/31.50472"/>
  <p:tag name="EE4P_AGENDAWIZARD_CONTENT" val="/165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Topic"/>
  <p:tag name="EE4P_AGENDAWIZARD_CONTENT" val="/Introduction"/>
  <p:tag name="EE4P_AGENDAWIZARD_PROPERTIES" val="113.5094/244.7642/224.7991/31.5047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Topic"/>
  <p:tag name="EE4P_AGENDAWIZARD_CONTENT" val="/Introduction"/>
  <p:tag name="EE4P_AGENDAWIZARD_PROPERTIES" val="77.00465/135.25/145.5325/31.50472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ItemNo"/>
  <p:tag name="EE4P_AGENDAWIZARD_CONTENT" val="/3.1"/>
  <p:tag name="EE4P_AGENDAWIZARD_PROPERTIES" val="77.00465/244.7642/31.50472/31.50472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25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ItemNo"/>
  <p:tag name="EE4P_AGENDAWIZARD_CONTENT" val="/1"/>
  <p:tag name="EE4P_AGENDAWIZARD_PROPERTIES" val="40.49992/135.25/31.50472/31.50472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78db72a-dfbe-48c1-b840-23476a3a2f96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390.7831/8.45685/31.50472"/>
  <p:tag name="EE4P_AGENDAWIZARD_CONTENT" val="/173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390.7831/261.3039/31.50472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390.7831/31.50472/31.50472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PageNo"/>
  <p:tag name="EE4P_AGENDAWIZARD_PROPERTIES" val="904.8554/354.2784/8.45685/31.5048"/>
  <p:tag name="EE4P_AGENDAWIZARD_CONTENT" val="/171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Topic"/>
  <p:tag name="EE4P_AGENDAWIZARD_CONTENT" val="/Sim2Real Paradigms"/>
  <p:tag name="EE4P_AGENDAWIZARD_PROPERTIES" val="113.5094/354.2784/224.7991/31.5048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ItemNo"/>
  <p:tag name="EE4P_AGENDAWIZARD_CONTENT" val="/3.4"/>
  <p:tag name="EE4P_AGENDAWIZARD_PROPERTIES" val="77.00465/354.2784/31.50472/31.5048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PageNo"/>
  <p:tag name="EE4P_AGENDAWIZARD_PROPERTIES" val="904.8554/317.7736/8.45685/31.50472"/>
  <p:tag name="EE4P_AGENDAWIZARD_CONTENT" val="/169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Topic"/>
  <p:tag name="EE4P_AGENDAWIZARD_CONTENT" val="/Simulated Data"/>
  <p:tag name="EE4P_AGENDAWIZARD_PROPERTIES" val="113.5094/317.7736/224.7991/31.50472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ItemNo"/>
  <p:tag name="EE4P_AGENDAWIZARD_CONTENT" val="/3.3"/>
  <p:tag name="EE4P_AGENDAWIZARD_PROPERTIES" val="77.00465/317.7736/31.50472/31.50472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Element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PageNo"/>
  <p:tag name="EE4P_AGENDAWIZARD_PROPERTIES" val="904.8554/281.2689/8.45685/31.50472"/>
  <p:tag name="EE4P_AGENDAWIZARD_CONTENT" val="/167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Topic"/>
  <p:tag name="EE4P_AGENDAWIZARD_CONTENT" val="/Real-World Data"/>
  <p:tag name="EE4P_AGENDAWIZARD_PROPERTIES" val="113.5094/281.2689/224.7991/31.50472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ItemNo"/>
  <p:tag name="EE4P_AGENDAWIZARD_CONTENT" val="/3.2"/>
  <p:tag name="EE4P_AGENDAWIZARD_PROPERTIES" val="77.00465/281.2689/31.50472/31.50472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PageNo"/>
  <p:tag name="EE4P_AGENDAWIZARD_PROPERTIES" val="904.8554/244.7642/8.45685/31.50472"/>
  <p:tag name="EE4P_AGENDAWIZARD_CONTENT" val="/165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Topic"/>
  <p:tag name="EE4P_AGENDAWIZARD_CONTENT" val="/Introduction"/>
  <p:tag name="EE4P_AGENDAWIZARD_PROPERTIES" val="113.5094/244.7642/224.7991/31.5047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ItemNo"/>
  <p:tag name="EE4P_AGENDAWIZARD_CONTENT" val="/3.1"/>
  <p:tag name="EE4P_AGENDAWIZARD_PROPERTIES" val="77.00465/244.7642/31.50472/31.50472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24995929-fa19-48d7-9998-ba4410cbdff6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b0779fb-1313-47d4-a7c0-2fda20717667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390.7831/8.45685/31.50472"/>
  <p:tag name="EE4P_AGENDAWIZARD_CONTENT" val="/173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390.7831/261.3039/31.50472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390.7831/31.50472/31.50472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PageNo"/>
  <p:tag name="EE4P_AGENDAWIZARD_PROPERTIES" val="904.8554/354.2784/8.45685/31.5048"/>
  <p:tag name="EE4P_AGENDAWIZARD_CONTENT" val="/171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Topic"/>
  <p:tag name="EE4P_AGENDAWIZARD_CONTENT" val="/Sim2Real Paradigms"/>
  <p:tag name="EE4P_AGENDAWIZARD_PROPERTIES" val="113.5094/354.2784/224.7991/31.504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PageNo"/>
  <p:tag name="EE4P_AGENDAWIZARD_PROPERTIES" val="904.8554/354.2784/8.45685/31.5048"/>
  <p:tag name="EE4P_AGENDAWIZARD_CONTENT" val="/23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ItemNo"/>
  <p:tag name="EE4P_AGENDAWIZARD_CONTENT" val="/3.4"/>
  <p:tag name="EE4P_AGENDAWIZARD_PROPERTIES" val="77.00465/354.2784/31.50472/31.5048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Element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PageNo"/>
  <p:tag name="EE4P_AGENDAWIZARD_PROPERTIES" val="904.8554/317.7736/8.45685/31.50472"/>
  <p:tag name="EE4P_AGENDAWIZARD_CONTENT" val="/169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Topic"/>
  <p:tag name="EE4P_AGENDAWIZARD_CONTENT" val="/Simulated Data"/>
  <p:tag name="EE4P_AGENDAWIZARD_PROPERTIES" val="113.5094/317.7736/224.7991/31.50472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ItemNo"/>
  <p:tag name="EE4P_AGENDAWIZARD_CONTENT" val="/3.3"/>
  <p:tag name="EE4P_AGENDAWIZARD_PROPERTIES" val="77.00465/317.7736/31.50472/31.50472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PageNo"/>
  <p:tag name="EE4P_AGENDAWIZARD_PROPERTIES" val="904.8554/281.2689/8.45685/31.50472"/>
  <p:tag name="EE4P_AGENDAWIZARD_CONTENT" val="/167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Topic"/>
  <p:tag name="EE4P_AGENDAWIZARD_CONTENT" val="/Real-World Data"/>
  <p:tag name="EE4P_AGENDAWIZARD_PROPERTIES" val="113.5094/281.2689/224.7991/31.50472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ItemNo"/>
  <p:tag name="EE4P_AGENDAWIZARD_CONTENT" val="/3.2"/>
  <p:tag name="EE4P_AGENDAWIZARD_PROPERTIES" val="77.00465/281.2689/31.50472/31.50472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PageNo"/>
  <p:tag name="EE4P_AGENDAWIZARD_PROPERTIES" val="904.8554/244.7642/8.45685/31.50472"/>
  <p:tag name="EE4P_AGENDAWIZARD_CONTENT" val="/165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Topic"/>
  <p:tag name="EE4P_AGENDAWIZARD_CONTENT" val="/Introduction"/>
  <p:tag name="EE4P_AGENDAWIZARD_PROPERTIES" val="113.5094/244.7642/224.7991/31.5047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Topic"/>
  <p:tag name="EE4P_AGENDAWIZARD_CONTENT" val="/Biomimetic Robots"/>
  <p:tag name="EE4P_AGENDAWIZARD_PROPERTIES" val="77.00465/354.2784/145.5325/31.5048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ItemNo"/>
  <p:tag name="EE4P_AGENDAWIZARD_CONTENT" val="/3.1"/>
  <p:tag name="EE4P_AGENDAWIZARD_PROPERTIES" val="77.00465/244.7642/31.50472/31.50472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ItemNo"/>
  <p:tag name="EE4P_AGENDAWIZARD_CONTENT" val="/7"/>
  <p:tag name="EE4P_AGENDAWIZARD_PROPERTIES" val="40.49992/354.2784/31.50472/31.5048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bd69e8f-bffa-4bd0-8d57-f93ac9c8ea8d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390.7831/8.45685/31.50472"/>
  <p:tag name="EE4P_AGENDAWIZARD_CONTENT" val="/173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390.7831/261.3039/31.50472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390.7831/31.50472/31.50472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Element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PageNo"/>
  <p:tag name="EE4P_AGENDAWIZARD_PROPERTIES" val="904.8554/354.2784/8.45685/31.5048"/>
  <p:tag name="EE4P_AGENDAWIZARD_CONTENT" val="/17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PageNo"/>
  <p:tag name="EE4P_AGENDAWIZARD_PROPERTIES" val="904.8554/317.7736/8.45685/31.50472"/>
  <p:tag name="EE4P_AGENDAWIZARD_CONTENT" val="/21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Topic"/>
  <p:tag name="EE4P_AGENDAWIZARD_CONTENT" val="/Sim2Real Paradigms"/>
  <p:tag name="EE4P_AGENDAWIZARD_PROPERTIES" val="113.5094/354.2784/224.7991/31.5048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bd69e8f-bffa-4bd0-8d57-f93ac9c8ea8d_ItemNo"/>
  <p:tag name="EE4P_AGENDAWIZARD_CONTENT" val="/3.4"/>
  <p:tag name="EE4P_AGENDAWIZARD_PROPERTIES" val="77.00465/354.2784/31.50472/31.5048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PageNo"/>
  <p:tag name="EE4P_AGENDAWIZARD_PROPERTIES" val="904.8554/317.7736/8.45685/31.50472"/>
  <p:tag name="EE4P_AGENDAWIZARD_CONTENT" val="/169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Topic"/>
  <p:tag name="EE4P_AGENDAWIZARD_CONTENT" val="/Simulated Data"/>
  <p:tag name="EE4P_AGENDAWIZARD_PROPERTIES" val="113.5094/317.7736/224.7991/31.50472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0779fb-1313-47d4-a7c0-2fda20717667_ItemNo"/>
  <p:tag name="EE4P_AGENDAWIZARD_CONTENT" val="/3.3"/>
  <p:tag name="EE4P_AGENDAWIZARD_PROPERTIES" val="77.00465/317.7736/31.50472/31.50472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PageNo"/>
  <p:tag name="EE4P_AGENDAWIZARD_PROPERTIES" val="904.8554/281.2689/8.45685/31.50472"/>
  <p:tag name="EE4P_AGENDAWIZARD_CONTENT" val="/167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Topic"/>
  <p:tag name="EE4P_AGENDAWIZARD_CONTENT" val="/Real-World Data"/>
  <p:tag name="EE4P_AGENDAWIZARD_PROPERTIES" val="113.5094/281.2689/224.7991/31.50472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8db72a-dfbe-48c1-b840-23476a3a2f96_ItemNo"/>
  <p:tag name="EE4P_AGENDAWIZARD_CONTENT" val="/3.2"/>
  <p:tag name="EE4P_AGENDAWIZARD_PROPERTIES" val="77.00465/281.2689/31.50472/31.50472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PageNo"/>
  <p:tag name="EE4P_AGENDAWIZARD_PROPERTIES" val="904.8554/244.7642/8.45685/31.50472"/>
  <p:tag name="EE4P_AGENDAWIZARD_CONTENT" val="/165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Topic"/>
  <p:tag name="EE4P_AGENDAWIZARD_CONTENT" val="/Introduction"/>
  <p:tag name="EE4P_AGENDAWIZARD_PROPERTIES" val="113.5094/244.7642/224.7991/31.50472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Topic"/>
  <p:tag name="EE4P_AGENDAWIZARD_CONTENT" val="/Humanoid Robots"/>
  <p:tag name="EE4P_AGENDAWIZARD_PROPERTIES" val="77.00465/317.7736/145.5325/31.50472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8d7a7-907d-4e46-92a5-a069ae116308_ItemNo"/>
  <p:tag name="EE4P_AGENDAWIZARD_CONTENT" val="/3.1"/>
  <p:tag name="EE4P_AGENDAWIZARD_PROPERTIES" val="77.00465/244.7642/31.50472/31.50472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ItemNo"/>
  <p:tag name="EE4P_AGENDAWIZARD_CONTENT" val="/6"/>
  <p:tag name="EE4P_AGENDAWIZARD_PROPERTIES" val="40.49992/317.7736/31.50472/31.50472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d85f372-35c6-4333-8074-59d3c346b920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PageNo"/>
  <p:tag name="EE4P_AGENDAWIZARD_PROPERTIES" val="904.8554/390.7831/8.45685/31.50472"/>
  <p:tag name="EE4P_AGENDAWIZARD_CONTENT" val="/181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Topic"/>
  <p:tag name="EE4P_AGENDAWIZARD_CONTENT" val="/Example of embodied control"/>
  <p:tag name="EE4P_AGENDAWIZARD_PROPERTIES" val="113.5094/390.7831/224.7991/31.50472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ItemNo"/>
  <p:tag name="EE4P_AGENDAWIZARD_CONTENT" val="/4.4"/>
  <p:tag name="EE4P_AGENDAWIZARD_PROPERTIES" val="77.00465/390.7831/31.50472/31.50472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PageNo"/>
  <p:tag name="EE4P_AGENDAWIZARD_PROPERTIES" val="904.8554/354.2784/8.45685/31.5048"/>
  <p:tag name="EE4P_AGENDAWIZARD_CONTENT" val="/179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Topic"/>
  <p:tag name="EE4P_AGENDAWIZARD_CONTENT" val="/Imitation Learning"/>
  <p:tag name="EE4P_AGENDAWIZARD_PROPERTIES" val="113.5094/354.2784/224.7991/31.504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33.3821/31.5047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Element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ItemNo"/>
  <p:tag name="EE4P_AGENDAWIZARD_CONTENT" val="/4.3"/>
  <p:tag name="EE4P_AGENDAWIZARD_PROPERTIES" val="77.00465/354.2784/31.50472/31.5048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PageNo"/>
  <p:tag name="EE4P_AGENDAWIZARD_PROPERTIES" val="904.8554/317.7736/8.45685/31.50472"/>
  <p:tag name="EE4P_AGENDAWIZARD_CONTENT" val="/177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Topic"/>
  <p:tag name="EE4P_AGENDAWIZARD_CONTENT" val="/Deep Reinforcement Learning"/>
  <p:tag name="EE4P_AGENDAWIZARD_PROPERTIES" val="113.5094/317.7736/224.7991/31.50472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ItemNo"/>
  <p:tag name="EE4P_AGENDAWIZARD_CONTENT" val="/4.2"/>
  <p:tag name="EE4P_AGENDAWIZARD_PROPERTIES" val="77.00465/317.7736/31.50472/31.50472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PageNo"/>
  <p:tag name="EE4P_AGENDAWIZARD_PROPERTIES" val="904.8554/281.2689/8.45685/31.50472"/>
  <p:tag name="EE4P_AGENDAWIZARD_CONTENT" val="/175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Topic"/>
  <p:tag name="EE4P_AGENDAWIZARD_CONTENT" val="/Introduction"/>
  <p:tag name="EE4P_AGENDAWIZARD_PROPERTIES" val="113.5094/281.2689/224.7991/31.50472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ItemNo"/>
  <p:tag name="EE4P_AGENDAWIZARD_CONTENT" val="/4.1"/>
  <p:tag name="EE4P_AGENDAWIZARD_PROPERTIES" val="77.00465/281.2689/31.50472/31.50472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Element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244.7642/8.45685/31.50472"/>
  <p:tag name="EE4P_AGENDAWIZARD_CONTENT" val="/173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244.7642/261.3039/31.5047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PageNo"/>
  <p:tag name="EE4P_AGENDAWIZARD_PROPERTIES" val="904.8554/281.2689/8.45685/31.50472"/>
  <p:tag name="EE4P_AGENDAWIZARD_CONTENT" val="/19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244.7642/31.50472/31.50472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Topic"/>
  <p:tag name="EE4P_AGENDAWIZARD_CONTENT" val="/Quadruped Robots"/>
  <p:tag name="EE4P_AGENDAWIZARD_PROPERTIES" val="77.00465/281.2689/145.5325/31.50472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7e2f5d8-716e-4b91-93d1-371d4c2ebe3c"/>
</p:tagLst>
</file>

<file path=ppt/tags/tag2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2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2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2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PageNo"/>
  <p:tag name="EE4P_AGENDAWIZARD_PROPERTIES" val="904.8554/390.7831/8.45685/31.50472"/>
  <p:tag name="EE4P_AGENDAWIZARD_CONTENT" val="/181"/>
</p:tagLst>
</file>

<file path=ppt/tags/tag2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Topic"/>
  <p:tag name="EE4P_AGENDAWIZARD_CONTENT" val="/Example of embodied control"/>
  <p:tag name="EE4P_AGENDAWIZARD_PROPERTIES" val="113.5094/390.7831/224.7991/31.50472"/>
</p:tagLst>
</file>

<file path=ppt/tags/tag2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ItemNo"/>
  <p:tag name="EE4P_AGENDAWIZARD_CONTENT" val="/4.4"/>
  <p:tag name="EE4P_AGENDAWIZARD_PROPERTIES" val="77.00465/390.7831/31.50472/31.50472"/>
</p:tagLst>
</file>

<file path=ppt/tags/tag2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PageNo"/>
  <p:tag name="EE4P_AGENDAWIZARD_PROPERTIES" val="904.8554/354.2784/8.45685/31.5048"/>
  <p:tag name="EE4P_AGENDAWIZARD_CONTENT" val="/179"/>
</p:tagLst>
</file>

<file path=ppt/tags/tag2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Topic"/>
  <p:tag name="EE4P_AGENDAWIZARD_CONTENT" val="/Imitation Learning"/>
  <p:tag name="EE4P_AGENDAWIZARD_PROPERTIES" val="113.5094/354.2784/224.7991/31.5048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ItemNo"/>
  <p:tag name="EE4P_AGENDAWIZARD_CONTENT" val="/5"/>
  <p:tag name="EE4P_AGENDAWIZARD_PROPERTIES" val="40.49992/281.2689/31.50472/31.50472"/>
</p:tagLst>
</file>

<file path=ppt/tags/tag2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ItemNo"/>
  <p:tag name="EE4P_AGENDAWIZARD_CONTENT" val="/4.3"/>
  <p:tag name="EE4P_AGENDAWIZARD_PROPERTIES" val="77.00465/354.2784/31.50472/31.5048"/>
</p:tagLst>
</file>

<file path=ppt/tags/tag2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PageNo"/>
  <p:tag name="EE4P_AGENDAWIZARD_PROPERTIES" val="904.8554/317.7736/8.45685/31.50472"/>
  <p:tag name="EE4P_AGENDAWIZARD_CONTENT" val="/177"/>
</p:tagLst>
</file>

<file path=ppt/tags/tag2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Topic"/>
  <p:tag name="EE4P_AGENDAWIZARD_CONTENT" val="/Deep Reinforcement Learning"/>
  <p:tag name="EE4P_AGENDAWIZARD_PROPERTIES" val="113.5094/317.7736/224.7991/31.50472"/>
</p:tagLst>
</file>

<file path=ppt/tags/tag2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ItemNo"/>
  <p:tag name="EE4P_AGENDAWIZARD_CONTENT" val="/4.2"/>
  <p:tag name="EE4P_AGENDAWIZARD_PROPERTIES" val="77.00465/317.7736/31.50472/31.50472"/>
</p:tagLst>
</file>

<file path=ppt/tags/tag2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Element"/>
</p:tagLst>
</file>

<file path=ppt/tags/tag2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PageNo"/>
  <p:tag name="EE4P_AGENDAWIZARD_PROPERTIES" val="904.8554/281.2689/8.45685/31.50472"/>
  <p:tag name="EE4P_AGENDAWIZARD_CONTENT" val="/175"/>
</p:tagLst>
</file>

<file path=ppt/tags/tag2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Topic"/>
  <p:tag name="EE4P_AGENDAWIZARD_CONTENT" val="/Introduction"/>
  <p:tag name="EE4P_AGENDAWIZARD_PROPERTIES" val="113.5094/281.2689/224.7991/31.50472"/>
</p:tagLst>
</file>

<file path=ppt/tags/tag2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ItemNo"/>
  <p:tag name="EE4P_AGENDAWIZARD_CONTENT" val="/4.1"/>
  <p:tag name="EE4P_AGENDAWIZARD_PROPERTIES" val="77.00465/281.2689/31.50472/31.50472"/>
</p:tagLst>
</file>

<file path=ppt/tags/tag2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244.7642/8.45685/31.50472"/>
  <p:tag name="EE4P_AGENDAWIZARD_CONTENT" val="/173"/>
</p:tagLst>
</file>

<file path=ppt/tags/tag2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244.7642/261.3039/31.5047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PageNo"/>
  <p:tag name="EE4P_AGENDAWIZARD_PROPERTIES" val="904.8554/244.7642/8.45685/31.50472"/>
  <p:tag name="EE4P_AGENDAWIZARD_CONTENT" val="/17"/>
</p:tagLst>
</file>

<file path=ppt/tags/tag2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244.7642/31.50472/31.50472"/>
</p:tagLst>
</file>

<file path=ppt/tags/tag2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2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2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2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2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2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2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2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Topic"/>
  <p:tag name="EE4P_AGENDAWIZARD_CONTENT" val="/Tracked Robots"/>
  <p:tag name="EE4P_AGENDAWIZARD_PROPERTIES" val="77.00465/244.7642/145.5325/31.50472"/>
</p:tagLst>
</file>

<file path=ppt/tags/tag2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7c4a520-5a2f-4db8-8d2d-7ae745af4bfc"/>
</p:tagLst>
</file>

<file path=ppt/tags/tag2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2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2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2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PageNo"/>
  <p:tag name="EE4P_AGENDAWIZARD_PROPERTIES" val="904.8554/390.7831/8.45685/31.50472"/>
  <p:tag name="EE4P_AGENDAWIZARD_CONTENT" val="/181"/>
</p:tagLst>
</file>

<file path=ppt/tags/tag2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Topic"/>
  <p:tag name="EE4P_AGENDAWIZARD_CONTENT" val="/Example of embodied control"/>
  <p:tag name="EE4P_AGENDAWIZARD_PROPERTIES" val="113.5094/390.7831/224.7991/31.50472"/>
</p:tagLst>
</file>

<file path=ppt/tags/tag2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ItemNo"/>
  <p:tag name="EE4P_AGENDAWIZARD_CONTENT" val="/4.4"/>
  <p:tag name="EE4P_AGENDAWIZARD_PROPERTIES" val="77.00465/390.7831/31.50472/31.50472"/>
</p:tagLst>
</file>

<file path=ppt/tags/tag2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PageNo"/>
  <p:tag name="EE4P_AGENDAWIZARD_PROPERTIES" val="904.8554/354.2784/8.45685/31.5048"/>
  <p:tag name="EE4P_AGENDAWIZARD_CONTENT" val="/179"/>
</p:tagLst>
</file>

<file path=ppt/tags/tag2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Topic"/>
  <p:tag name="EE4P_AGENDAWIZARD_CONTENT" val="/Imitation Learning"/>
  <p:tag name="EE4P_AGENDAWIZARD_PROPERTIES" val="113.5094/354.2784/224.7991/31.5048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ItemNo"/>
  <p:tag name="EE4P_AGENDAWIZARD_CONTENT" val="/4"/>
  <p:tag name="EE4P_AGENDAWIZARD_PROPERTIES" val="40.49992/244.7642/31.50472/31.50472"/>
</p:tagLst>
</file>

<file path=ppt/tags/tag2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ItemNo"/>
  <p:tag name="EE4P_AGENDAWIZARD_CONTENT" val="/4.3"/>
  <p:tag name="EE4P_AGENDAWIZARD_PROPERTIES" val="77.00465/354.2784/31.50472/31.5048"/>
</p:tagLst>
</file>

<file path=ppt/tags/tag2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Element"/>
</p:tagLst>
</file>

<file path=ppt/tags/tag2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PageNo"/>
  <p:tag name="EE4P_AGENDAWIZARD_PROPERTIES" val="904.8554/317.7736/8.45685/31.50472"/>
  <p:tag name="EE4P_AGENDAWIZARD_CONTENT" val="/177"/>
</p:tagLst>
</file>

<file path=ppt/tags/tag2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Topic"/>
  <p:tag name="EE4P_AGENDAWIZARD_CONTENT" val="/Deep Reinforcement Learning"/>
  <p:tag name="EE4P_AGENDAWIZARD_PROPERTIES" val="113.5094/317.7736/224.7991/31.50472"/>
</p:tagLst>
</file>

<file path=ppt/tags/tag2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ItemNo"/>
  <p:tag name="EE4P_AGENDAWIZARD_CONTENT" val="/4.2"/>
  <p:tag name="EE4P_AGENDAWIZARD_PROPERTIES" val="77.00465/317.7736/31.50472/31.50472"/>
</p:tagLst>
</file>

<file path=ppt/tags/tag2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PageNo"/>
  <p:tag name="EE4P_AGENDAWIZARD_PROPERTIES" val="904.8554/281.2689/8.45685/31.50472"/>
  <p:tag name="EE4P_AGENDAWIZARD_CONTENT" val="/175"/>
</p:tagLst>
</file>

<file path=ppt/tags/tag2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Topic"/>
  <p:tag name="EE4P_AGENDAWIZARD_CONTENT" val="/Introduction"/>
  <p:tag name="EE4P_AGENDAWIZARD_PROPERTIES" val="113.5094/281.2689/224.7991/31.50472"/>
</p:tagLst>
</file>

<file path=ppt/tags/tag2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ItemNo"/>
  <p:tag name="EE4P_AGENDAWIZARD_CONTENT" val="/4.1"/>
  <p:tag name="EE4P_AGENDAWIZARD_PROPERTIES" val="77.00465/281.2689/31.50472/31.50472"/>
</p:tagLst>
</file>

<file path=ppt/tags/tag2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244.7642/8.45685/31.50472"/>
  <p:tag name="EE4P_AGENDAWIZARD_CONTENT" val="/173"/>
</p:tagLst>
</file>

<file path=ppt/tags/tag2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244.7642/261.3039/31.5047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PageNo"/>
  <p:tag name="EE4P_AGENDAWIZARD_PROPERTIES" val="904.8554/208.2594/8.45685/31.50472"/>
  <p:tag name="EE4P_AGENDAWIZARD_CONTENT" val="/15"/>
</p:tagLst>
</file>

<file path=ppt/tags/tag2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244.7642/31.50472/31.50472"/>
</p:tagLst>
</file>

<file path=ppt/tags/tag2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2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2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2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2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2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2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2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2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Topic"/>
  <p:tag name="EE4P_AGENDAWIZARD_CONTENT" val="/Wheeled Robots"/>
  <p:tag name="EE4P_AGENDAWIZARD_PROPERTIES" val="77.00465/208.2594/145.5325/31.50472"/>
</p:tagLst>
</file>

<file path=ppt/tags/tag2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daae6dd-7d27-4aa6-8f73-ac23b79cc732"/>
</p:tagLst>
</file>

<file path=ppt/tags/tag2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2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2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2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PageNo"/>
  <p:tag name="EE4P_AGENDAWIZARD_PROPERTIES" val="904.8554/390.7831/8.45685/31.50472"/>
  <p:tag name="EE4P_AGENDAWIZARD_CONTENT" val="/181"/>
</p:tagLst>
</file>

<file path=ppt/tags/tag2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Topic"/>
  <p:tag name="EE4P_AGENDAWIZARD_CONTENT" val="/Example of embodied control"/>
  <p:tag name="EE4P_AGENDAWIZARD_PROPERTIES" val="113.5094/390.7831/224.7991/31.50472"/>
</p:tagLst>
</file>

<file path=ppt/tags/tag2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ItemNo"/>
  <p:tag name="EE4P_AGENDAWIZARD_CONTENT" val="/4.4"/>
  <p:tag name="EE4P_AGENDAWIZARD_PROPERTIES" val="77.00465/390.7831/31.50472/31.50472"/>
</p:tagLst>
</file>

<file path=ppt/tags/tag2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Element"/>
</p:tagLst>
</file>

<file path=ppt/tags/tag2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PageNo"/>
  <p:tag name="EE4P_AGENDAWIZARD_PROPERTIES" val="904.8554/354.2784/8.45685/31.5048"/>
  <p:tag name="EE4P_AGENDAWIZARD_CONTENT" val="/179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ItemNo"/>
  <p:tag name="EE4P_AGENDAWIZARD_CONTENT" val="/3"/>
  <p:tag name="EE4P_AGENDAWIZARD_PROPERTIES" val="40.49992/208.2594/31.50472/31.50472"/>
</p:tagLst>
</file>

<file path=ppt/tags/tag2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Topic"/>
  <p:tag name="EE4P_AGENDAWIZARD_CONTENT" val="/Imitation Learning"/>
  <p:tag name="EE4P_AGENDAWIZARD_PROPERTIES" val="113.5094/354.2784/224.7991/31.5048"/>
</p:tagLst>
</file>

<file path=ppt/tags/tag2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ItemNo"/>
  <p:tag name="EE4P_AGENDAWIZARD_CONTENT" val="/4.3"/>
  <p:tag name="EE4P_AGENDAWIZARD_PROPERTIES" val="77.00465/354.2784/31.50472/31.5048"/>
</p:tagLst>
</file>

<file path=ppt/tags/tag2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PageNo"/>
  <p:tag name="EE4P_AGENDAWIZARD_PROPERTIES" val="904.8554/317.7736/8.45685/31.50472"/>
  <p:tag name="EE4P_AGENDAWIZARD_CONTENT" val="/177"/>
</p:tagLst>
</file>

<file path=ppt/tags/tag2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Topic"/>
  <p:tag name="EE4P_AGENDAWIZARD_CONTENT" val="/Deep Reinforcement Learning"/>
  <p:tag name="EE4P_AGENDAWIZARD_PROPERTIES" val="113.5094/317.7736/224.7991/31.50472"/>
</p:tagLst>
</file>

<file path=ppt/tags/tag2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ItemNo"/>
  <p:tag name="EE4P_AGENDAWIZARD_CONTENT" val="/4.2"/>
  <p:tag name="EE4P_AGENDAWIZARD_PROPERTIES" val="77.00465/317.7736/31.50472/31.50472"/>
</p:tagLst>
</file>

<file path=ppt/tags/tag2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PageNo"/>
  <p:tag name="EE4P_AGENDAWIZARD_PROPERTIES" val="904.8554/281.2689/8.45685/31.50472"/>
  <p:tag name="EE4P_AGENDAWIZARD_CONTENT" val="/175"/>
</p:tagLst>
</file>

<file path=ppt/tags/tag2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Topic"/>
  <p:tag name="EE4P_AGENDAWIZARD_CONTENT" val="/Introduction"/>
  <p:tag name="EE4P_AGENDAWIZARD_PROPERTIES" val="113.5094/281.2689/224.7991/31.50472"/>
</p:tagLst>
</file>

<file path=ppt/tags/tag2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ItemNo"/>
  <p:tag name="EE4P_AGENDAWIZARD_CONTENT" val="/4.1"/>
  <p:tag name="EE4P_AGENDAWIZARD_PROPERTIES" val="77.00465/281.2689/31.50472/31.50472"/>
</p:tagLst>
</file>

<file path=ppt/tags/tag2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244.7642/8.45685/31.50472"/>
  <p:tag name="EE4P_AGENDAWIZARD_CONTENT" val="/173"/>
</p:tagLst>
</file>

<file path=ppt/tags/tag2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244.7642/261.3039/31.5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PageNo"/>
  <p:tag name="EE4P_AGENDAWIZARD_PROPERTIES" val="904.8554/171.7547/8.45685/31.50472"/>
  <p:tag name="EE4P_AGENDAWIZARD_CONTENT" val="/13"/>
</p:tagLst>
</file>

<file path=ppt/tags/tag2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244.7642/31.50472/31.50472"/>
</p:tagLst>
</file>

<file path=ppt/tags/tag2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2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2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2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2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2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2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2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2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Topic"/>
  <p:tag name="EE4P_AGENDAWIZARD_CONTENT" val="/Fixed-base Robots"/>
  <p:tag name="EE4P_AGENDAWIZARD_PROPERTIES" val="77.00465/171.7547/145.5325/31.50472"/>
</p:tagLst>
</file>

<file path=ppt/tags/tag2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91f9574-3de5-4d05-a533-66bc7228ff7a"/>
</p:tagLst>
</file>

<file path=ppt/tags/tag2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427.2879/8.45685/31.50472"/>
  <p:tag name="EE4P_AGENDAWIZARD_CONTENT" val="/183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427.2879/261.3039/31.50472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427.2879/31.50472/31.50472"/>
</p:tagLst>
</file>

<file path=ppt/tags/tag2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Element"/>
</p:tagLst>
</file>

<file path=ppt/tags/tag2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PageNo"/>
  <p:tag name="EE4P_AGENDAWIZARD_PROPERTIES" val="904.8554/390.7831/8.45685/31.50472"/>
  <p:tag name="EE4P_AGENDAWIZARD_CONTENT" val="/181"/>
</p:tagLst>
</file>

<file path=ppt/tags/tag2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Topic"/>
  <p:tag name="EE4P_AGENDAWIZARD_CONTENT" val="/Example of embodied control"/>
  <p:tag name="EE4P_AGENDAWIZARD_PROPERTIES" val="113.5094/390.7831/224.7991/31.50472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91f9574-3de5-4d05-a533-66bc7228ff7a_ItemNo"/>
  <p:tag name="EE4P_AGENDAWIZARD_CONTENT" val="/4.4"/>
  <p:tag name="EE4P_AGENDAWIZARD_PROPERTIES" val="77.00465/390.7831/31.50472/31.50472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PageNo"/>
  <p:tag name="EE4P_AGENDAWIZARD_PROPERTIES" val="904.8554/354.2784/8.45685/31.5048"/>
  <p:tag name="EE4P_AGENDAWIZARD_CONTENT" val="/179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ItemNo"/>
  <p:tag name="EE4P_AGENDAWIZARD_CONTENT" val="/2"/>
  <p:tag name="EE4P_AGENDAWIZARD_PROPERTIES" val="40.49992/171.7547/31.50472/31.50472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Topic"/>
  <p:tag name="EE4P_AGENDAWIZARD_CONTENT" val="/Imitation Learning"/>
  <p:tag name="EE4P_AGENDAWIZARD_PROPERTIES" val="113.5094/354.2784/224.7991/31.5048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aae6dd-7d27-4aa6-8f73-ac23b79cc732_ItemNo"/>
  <p:tag name="EE4P_AGENDAWIZARD_CONTENT" val="/4.3"/>
  <p:tag name="EE4P_AGENDAWIZARD_PROPERTIES" val="77.00465/354.2784/31.50472/31.5048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PageNo"/>
  <p:tag name="EE4P_AGENDAWIZARD_PROPERTIES" val="904.8554/317.7736/8.45685/31.50472"/>
  <p:tag name="EE4P_AGENDAWIZARD_CONTENT" val="/177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Topic"/>
  <p:tag name="EE4P_AGENDAWIZARD_CONTENT" val="/Deep Reinforcement Learning"/>
  <p:tag name="EE4P_AGENDAWIZARD_PROPERTIES" val="113.5094/317.7736/224.7991/31.50472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7c4a520-5a2f-4db8-8d2d-7ae745af4bfc_ItemNo"/>
  <p:tag name="EE4P_AGENDAWIZARD_CONTENT" val="/4.2"/>
  <p:tag name="EE4P_AGENDAWIZARD_PROPERTIES" val="77.00465/317.7736/31.50472/31.50472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PageNo"/>
  <p:tag name="EE4P_AGENDAWIZARD_PROPERTIES" val="904.8554/281.2689/8.45685/31.50472"/>
  <p:tag name="EE4P_AGENDAWIZARD_CONTENT" val="/175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Topic"/>
  <p:tag name="EE4P_AGENDAWIZARD_CONTENT" val="/Introduction"/>
  <p:tag name="EE4P_AGENDAWIZARD_PROPERTIES" val="113.5094/281.2689/224.7991/31.50472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7e2f5d8-716e-4b91-93d1-371d4c2ebe3c_ItemNo"/>
  <p:tag name="EE4P_AGENDAWIZARD_CONTENT" val="/4.1"/>
  <p:tag name="EE4P_AGENDAWIZARD_PROPERTIES" val="77.00465/281.2689/31.50472/31.50472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244.7642/8.45685/31.50472"/>
  <p:tag name="EE4P_AGENDAWIZARD_CONTENT" val="/173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244.7642/261.3039/31.5047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PageNo"/>
  <p:tag name="EE4P_AGENDAWIZARD_PROPERTIES" val="904.8554/135.25/8.45685/31.50472"/>
  <p:tag name="EE4P_AGENDAWIZARD_CONTENT" val="/11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244.7642/31.50472/31.50472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Topic"/>
  <p:tag name="EE4P_AGENDAWIZARD_CONTENT" val="/Introduction"/>
  <p:tag name="EE4P_AGENDAWIZARD_PROPERTIES" val="77.00465/135.25/145.5325/31.50472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b5773e0-4f1b-4606-a195-460690ff5236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Element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PageNo"/>
  <p:tag name="EE4P_AGENDAWIZARD_PROPERTIES" val="904.8554/281.2689/8.45685/31.50472"/>
  <p:tag name="EE4P_AGENDAWIZARD_CONTENT" val="/183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Topic"/>
  <p:tag name="EE4P_AGENDAWIZARD_CONTENT" val="/All Robots in One"/>
  <p:tag name="EE4P_AGENDAWIZARD_PROPERTIES" val="77.00465/281.2689/261.3039/31.50472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b5773e0-4f1b-4606-a195-460690ff5236_ItemNo"/>
  <p:tag name="EE4P_AGENDAWIZARD_CONTENT" val="/5"/>
  <p:tag name="EE4P_AGENDAWIZARD_PROPERTIES" val="40.49992/281.2689/31.50472/31.50472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PageNo"/>
  <p:tag name="EE4P_AGENDAWIZARD_PROPERTIES" val="904.8554/244.7642/8.45685/31.50472"/>
  <p:tag name="EE4P_AGENDAWIZARD_CONTENT" val="/173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Topic"/>
  <p:tag name="EE4P_AGENDAWIZARD_CONTENT" val="/Embodied Control"/>
  <p:tag name="EE4P_AGENDAWIZARD_PROPERTIES" val="77.00465/244.7642/261.3039/31.50472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d85f372-35c6-4333-8074-59d3c346b920_ItemNo"/>
  <p:tag name="EE4P_AGENDAWIZARD_CONTENT" val="/4"/>
  <p:tag name="EE4P_AGENDAWIZARD_PROPERTIES" val="40.49992/244.7642/31.50472/31.50472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PageNo"/>
  <p:tag name="EE4P_AGENDAWIZARD_PROPERTIES" val="904.8554/208.2594/8.45685/31.50472"/>
  <p:tag name="EE4P_AGENDAWIZARD_CONTENT" val="/163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ItemNo"/>
  <p:tag name="EE4P_AGENDAWIZARD_CONTENT" val="/1"/>
  <p:tag name="EE4P_AGENDAWIZARD_PROPERTIES" val="40.49992/135.25/31.50472/31.50472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Topic"/>
  <p:tag name="EE4P_AGENDAWIZARD_CONTENT" val="/Data Collection and Training"/>
  <p:tag name="EE4P_AGENDAWIZARD_PROPERTIES" val="77.00465/208.2594/261.3039/31.50472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6c90b23-7fd8-417f-b696-4f0705444a0a_ItemNo"/>
  <p:tag name="EE4P_AGENDAWIZARD_CONTENT" val="/3"/>
  <p:tag name="EE4P_AGENDAWIZARD_PROPERTIES" val="40.49992/208.2594/31.50472/31.50472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PageNo"/>
  <p:tag name="EE4P_AGENDAWIZARD_PROPERTIES" val="904.8554/171.7547/8.45685/31.50472"/>
  <p:tag name="EE4P_AGENDAWIZARD_CONTENT" val="/153"/>
</p:tagLst>
</file>

<file path=ppt/tags/tag2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Topic"/>
  <p:tag name="EE4P_AGENDAWIZARD_CONTENT" val="/Embodied World Model"/>
  <p:tag name="EE4P_AGENDAWIZARD_PROPERTIES" val="77.00465/171.7547/261.3039/31.50472"/>
</p:tagLst>
</file>

<file path=ppt/tags/tag2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23e5eb-8d86-4678-8a36-2499c0368022_ItemNo"/>
  <p:tag name="EE4P_AGENDAWIZARD_CONTENT" val="/2"/>
  <p:tag name="EE4P_AGENDAWIZARD_PROPERTIES" val="40.49992/171.7547/31.50472/31.50472"/>
</p:tagLst>
</file>

<file path=ppt/tags/tag2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PageNo"/>
  <p:tag name="EE4P_AGENDAWIZARD_PROPERTIES" val="904.8554/135.25/8.45685/31.50472"/>
  <p:tag name="EE4P_AGENDAWIZARD_CONTENT" val="/151"/>
</p:tagLst>
</file>

<file path=ppt/tags/tag2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Topic"/>
  <p:tag name="EE4P_AGENDAWIZARD_CONTENT" val="/Introduction"/>
  <p:tag name="EE4P_AGENDAWIZARD_PROPERTIES" val="77.00465/135.25/261.3039/31.50472"/>
</p:tagLst>
</file>

<file path=ppt/tags/tag2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c01936-e15e-4a39-8cf0-fa1187d1fd47_ItemNo"/>
  <p:tag name="EE4P_AGENDAWIZARD_CONTENT" val="/1"/>
  <p:tag name="EE4P_AGENDAWIZARD_PROPERTIES" val="40.49992/135.25/31.50472/31.50472"/>
</p:tagLst>
</file>

<file path=ppt/tags/tag2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85da62d-55ff-4b76-a140-1234dd11014c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Element"/>
</p:tagLst>
</file>

<file path=ppt/tags/tag2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185"/>
</p:tagLst>
</file>

<file path=ppt/tags/tag2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&amp; Future Directions"/>
  <p:tag name="EE4P_AGENDAWIZARD_PROPERTIES" val="77.00465/390.7831/233.3821/31.50472"/>
</p:tagLst>
</file>

<file path=ppt/tags/tag2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2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49"/>
</p:tagLst>
</file>

<file path=ppt/tags/tag2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33.3821/31.5048"/>
</p:tagLst>
</file>

<file path=ppt/tags/tag2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2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25"/>
</p:tagLst>
</file>

<file path=ppt/tags/tag2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33.3821/31.50472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2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95"/>
</p:tagLst>
</file>

<file path=ppt/tags/tag2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33.3821/31.50472"/>
</p:tagLst>
</file>

<file path=ppt/tags/tag2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2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55"/>
</p:tagLst>
</file>

<file path=ppt/tags/tag2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33.3821/31.50472"/>
</p:tagLst>
</file>

<file path=ppt/tags/tag2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2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25"/>
</p:tagLst>
</file>

<file path=ppt/tags/tag2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33.3821/31.50472"/>
</p:tagLst>
</file>

<file path=ppt/tags/tag2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9"/>
</p:tagLst>
</file>

<file path=ppt/tags/tag2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33.3821/31.50472"/>
</p:tagLst>
</file>

<file path=ppt/tags/tag2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2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5"/>
</p:tagLst>
</file>

<file path=ppt/tags/tag2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33.3821/31.50472"/>
</p:tagLst>
</file>

<file path=ppt/tags/tag2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2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0616639-b8e9-4cf9-98c0-5f9b2745af0f"/>
</p:tagLst>
</file>

<file path=ppt/tags/tag2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PageNo"/>
  <p:tag name="EE4P_AGENDAWIZARD_PROPERTIES" val="904.8554/354.2784/8.45685/31.5048"/>
  <p:tag name="EE4P_AGENDAWIZARD_CONTENT" val="/199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19d3b96-f418-4dff-bb6e-3607952884af"/>
</p:tagLst>
</file>

<file path=ppt/tags/tag2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Topic"/>
  <p:tag name="EE4P_AGENDAWIZARD_CONTENT" val="/Unified Evaluation Benchmark"/>
  <p:tag name="EE4P_AGENDAWIZARD_PROPERTIES" val="77.00465/354.2784/374.6231/31.5048"/>
</p:tagLst>
</file>

<file path=ppt/tags/tag2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ItemNo"/>
  <p:tag name="EE4P_AGENDAWIZARD_CONTENT" val="/7"/>
  <p:tag name="EE4P_AGENDAWIZARD_PROPERTIES" val="40.49992/354.2784/31.50472/31.5048"/>
</p:tagLst>
</file>

<file path=ppt/tags/tag2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PageNo"/>
  <p:tag name="EE4P_AGENDAWIZARD_PROPERTIES" val="904.8554/317.7736/8.45685/31.50472"/>
  <p:tag name="EE4P_AGENDAWIZARD_CONTENT" val="/197"/>
</p:tagLst>
</file>

<file path=ppt/tags/tag2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Topic"/>
  <p:tag name="EE4P_AGENDAWIZARD_CONTENT" val="/Continual Learning"/>
  <p:tag name="EE4P_AGENDAWIZARD_PROPERTIES" val="77.00465/317.7736/374.6231/31.50472"/>
</p:tagLst>
</file>

<file path=ppt/tags/tag2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ItemNo"/>
  <p:tag name="EE4P_AGENDAWIZARD_CONTENT" val="/6"/>
  <p:tag name="EE4P_AGENDAWIZARD_PROPERTIES" val="40.49992/317.7736/31.50472/31.50472"/>
</p:tagLst>
</file>

<file path=ppt/tags/tag2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PageNo"/>
  <p:tag name="EE4P_AGENDAWIZARD_PROPERTIES" val="904.8554/281.2689/8.45685/31.50472"/>
  <p:tag name="EE4P_AGENDAWIZARD_CONTENT" val="/195"/>
</p:tagLst>
</file>

<file path=ppt/tags/tag2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Topic"/>
  <p:tag name="EE4P_AGENDAWIZARD_CONTENT" val="/Causal Relation Discovery"/>
  <p:tag name="EE4P_AGENDAWIZARD_PROPERTIES" val="77.00465/281.2689/374.6231/31.50472"/>
</p:tagLst>
</file>

<file path=ppt/tags/tag2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ItemNo"/>
  <p:tag name="EE4P_AGENDAWIZARD_CONTENT" val="/5"/>
  <p:tag name="EE4P_AGENDAWIZARD_PROPERTIES" val="40.49992/281.2689/31.50472/31.50472"/>
</p:tagLst>
</file>

<file path=ppt/tags/tag2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PageNo"/>
  <p:tag name="EE4P_AGENDAWIZARD_PROPERTIES" val="904.8554/244.7642/8.45685/31.50472"/>
  <p:tag name="EE4P_AGENDAWIZARD_CONTENT" val="/193"/>
</p:tagLst>
</file>

<file path=ppt/tags/tag2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Topic"/>
  <p:tag name="EE4P_AGENDAWIZARD_CONTENT" val="/Long-Horizon Task Execution"/>
  <p:tag name="EE4P_AGENDAWIZARD_PROPERTIES" val="77.00465/244.7642/374.6231/31.5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9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PageNo"/>
  <p:tag name="EE4P_AGENDAWIZARD_PROPERTIES" val="904.8554/354.2784/8.45685/31.5048"/>
  <p:tag name="EE4P_AGENDAWIZARD_CONTENT" val="/23"/>
</p:tagLst>
</file>

<file path=ppt/tags/tag2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ItemNo"/>
  <p:tag name="EE4P_AGENDAWIZARD_CONTENT" val="/4"/>
  <p:tag name="EE4P_AGENDAWIZARD_PROPERTIES" val="40.49992/244.7642/31.50472/31.50472"/>
</p:tagLst>
</file>

<file path=ppt/tags/tag2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PageNo"/>
  <p:tag name="EE4P_AGENDAWIZARD_PROPERTIES" val="904.8554/208.2594/8.45685/31.50472"/>
  <p:tag name="EE4P_AGENDAWIZARD_CONTENT" val="/191"/>
</p:tagLst>
</file>

<file path=ppt/tags/tag2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Topic"/>
  <p:tag name="EE4P_AGENDAWIZARD_CONTENT" val="/Cognition of Complex Environment"/>
  <p:tag name="EE4P_AGENDAWIZARD_PROPERTIES" val="77.00465/208.2594/374.6231/31.50472"/>
</p:tagLst>
</file>

<file path=ppt/tags/tag2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ItemNo"/>
  <p:tag name="EE4P_AGENDAWIZARD_CONTENT" val="/3"/>
  <p:tag name="EE4P_AGENDAWIZARD_PROPERTIES" val="40.49992/208.2594/31.50472/31.50472"/>
</p:tagLst>
</file>

<file path=ppt/tags/tag2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PageNo"/>
  <p:tag name="EE4P_AGENDAWIZARD_PROPERTIES" val="904.8554/171.7547/8.45685/31.50472"/>
  <p:tag name="EE4P_AGENDAWIZARD_CONTENT" val="/189"/>
</p:tagLst>
</file>

<file path=ppt/tags/tag2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Topic"/>
  <p:tag name="EE4P_AGENDAWIZARD_CONTENT" val="/Efficient Utilization of Human Demonstration Data"/>
  <p:tag name="EE4P_AGENDAWIZARD_PROPERTIES" val="77.00465/171.7547/374.6231/31.50472"/>
</p:tagLst>
</file>

<file path=ppt/tags/tag2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ItemNo"/>
  <p:tag name="EE4P_AGENDAWIZARD_CONTENT" val="/2"/>
  <p:tag name="EE4P_AGENDAWIZARD_PROPERTIES" val="40.49992/171.7547/31.50472/31.50472"/>
</p:tagLst>
</file>

<file path=ppt/tags/tag2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Element"/>
</p:tagLst>
</file>

<file path=ppt/tags/tag2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PageNo"/>
  <p:tag name="EE4P_AGENDAWIZARD_PROPERTIES" val="904.8554/135.25/8.45685/31.50472"/>
  <p:tag name="EE4P_AGENDAWIZARD_CONTENT" val="/187"/>
</p:tagLst>
</file>

<file path=ppt/tags/tag2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Topic"/>
  <p:tag name="EE4P_AGENDAWIZARD_CONTENT" val="/High-quality Robotic Datasets"/>
  <p:tag name="EE4P_AGENDAWIZARD_PROPERTIES" val="77.00465/135.25/374.6231/31.5047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Topic"/>
  <p:tag name="EE4P_AGENDAWIZARD_CONTENT" val="/Biomimetic Robots"/>
  <p:tag name="EE4P_AGENDAWIZARD_PROPERTIES" val="77.00465/354.2784/145.5325/31.5048"/>
</p:tagLst>
</file>

<file path=ppt/tags/tag2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ItemNo"/>
  <p:tag name="EE4P_AGENDAWIZARD_CONTENT" val="/1"/>
  <p:tag name="EE4P_AGENDAWIZARD_PROPERTIES" val="40.49992/135.25/31.50472/31.50472"/>
</p:tagLst>
</file>

<file path=ppt/tags/tag2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02bddaa-b818-4dbc-b331-69aceee73407"/>
</p:tagLst>
</file>

<file path=ppt/tags/tag2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PageNo"/>
  <p:tag name="EE4P_AGENDAWIZARD_PROPERTIES" val="904.8554/354.2784/8.45685/31.5048"/>
  <p:tag name="EE4P_AGENDAWIZARD_CONTENT" val="/199"/>
</p:tagLst>
</file>

<file path=ppt/tags/tag2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Topic"/>
  <p:tag name="EE4P_AGENDAWIZARD_CONTENT" val="/Unified Evaluation Benchmark"/>
  <p:tag name="EE4P_AGENDAWIZARD_PROPERTIES" val="77.00465/354.2784/374.6231/31.5048"/>
</p:tagLst>
</file>

<file path=ppt/tags/tag2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ItemNo"/>
  <p:tag name="EE4P_AGENDAWIZARD_CONTENT" val="/7"/>
  <p:tag name="EE4P_AGENDAWIZARD_PROPERTIES" val="40.49992/354.2784/31.50472/31.5048"/>
</p:tagLst>
</file>

<file path=ppt/tags/tag2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PageNo"/>
  <p:tag name="EE4P_AGENDAWIZARD_PROPERTIES" val="904.8554/317.7736/8.45685/31.50472"/>
  <p:tag name="EE4P_AGENDAWIZARD_CONTENT" val="/197"/>
</p:tagLst>
</file>

<file path=ppt/tags/tag2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Topic"/>
  <p:tag name="EE4P_AGENDAWIZARD_CONTENT" val="/Continual Learning"/>
  <p:tag name="EE4P_AGENDAWIZARD_PROPERTIES" val="77.00465/317.7736/374.6231/31.50472"/>
</p:tagLst>
</file>

<file path=ppt/tags/tag2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ItemNo"/>
  <p:tag name="EE4P_AGENDAWIZARD_CONTENT" val="/6"/>
  <p:tag name="EE4P_AGENDAWIZARD_PROPERTIES" val="40.49992/317.7736/31.50472/31.50472"/>
</p:tagLst>
</file>

<file path=ppt/tags/tag2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PageNo"/>
  <p:tag name="EE4P_AGENDAWIZARD_PROPERTIES" val="904.8554/281.2689/8.45685/31.50472"/>
  <p:tag name="EE4P_AGENDAWIZARD_CONTENT" val="/19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ItemNo"/>
  <p:tag name="EE4P_AGENDAWIZARD_CONTENT" val="/7"/>
  <p:tag name="EE4P_AGENDAWIZARD_PROPERTIES" val="40.49992/354.2784/31.50472/31.5048"/>
</p:tagLst>
</file>

<file path=ppt/tags/tag2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Topic"/>
  <p:tag name="EE4P_AGENDAWIZARD_CONTENT" val="/Causal Relation Discovery"/>
  <p:tag name="EE4P_AGENDAWIZARD_PROPERTIES" val="77.00465/281.2689/374.6231/31.50472"/>
</p:tagLst>
</file>

<file path=ppt/tags/tag2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ItemNo"/>
  <p:tag name="EE4P_AGENDAWIZARD_CONTENT" val="/5"/>
  <p:tag name="EE4P_AGENDAWIZARD_PROPERTIES" val="40.49992/281.2689/31.50472/31.50472"/>
</p:tagLst>
</file>

<file path=ppt/tags/tag2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PageNo"/>
  <p:tag name="EE4P_AGENDAWIZARD_PROPERTIES" val="904.8554/244.7642/8.45685/31.50472"/>
  <p:tag name="EE4P_AGENDAWIZARD_CONTENT" val="/193"/>
</p:tagLst>
</file>

<file path=ppt/tags/tag2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Topic"/>
  <p:tag name="EE4P_AGENDAWIZARD_CONTENT" val="/Long-Horizon Task Execution"/>
  <p:tag name="EE4P_AGENDAWIZARD_PROPERTIES" val="77.00465/244.7642/374.6231/31.50472"/>
</p:tagLst>
</file>

<file path=ppt/tags/tag2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ItemNo"/>
  <p:tag name="EE4P_AGENDAWIZARD_CONTENT" val="/4"/>
  <p:tag name="EE4P_AGENDAWIZARD_PROPERTIES" val="40.49992/244.7642/31.50472/31.50472"/>
</p:tagLst>
</file>

<file path=ppt/tags/tag2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PageNo"/>
  <p:tag name="EE4P_AGENDAWIZARD_PROPERTIES" val="904.8554/208.2594/8.45685/31.50472"/>
  <p:tag name="EE4P_AGENDAWIZARD_CONTENT" val="/191"/>
</p:tagLst>
</file>

<file path=ppt/tags/tag2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Topic"/>
  <p:tag name="EE4P_AGENDAWIZARD_CONTENT" val="/Cognition of Complex Environment"/>
  <p:tag name="EE4P_AGENDAWIZARD_PROPERTIES" val="77.00465/208.2594/374.6231/31.50472"/>
</p:tagLst>
</file>

<file path=ppt/tags/tag2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ItemNo"/>
  <p:tag name="EE4P_AGENDAWIZARD_CONTENT" val="/3"/>
  <p:tag name="EE4P_AGENDAWIZARD_PROPERTIES" val="40.49992/208.2594/31.50472/31.50472"/>
</p:tagLst>
</file>

<file path=ppt/tags/tag2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Element"/>
</p:tagLst>
</file>

<file path=ppt/tags/tag2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PageNo"/>
  <p:tag name="EE4P_AGENDAWIZARD_PROPERTIES" val="904.8554/171.7547/8.45685/31.50472"/>
  <p:tag name="EE4P_AGENDAWIZARD_CONTENT" val="/189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Element"/>
</p:tagLst>
</file>

<file path=ppt/tags/tag2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Topic"/>
  <p:tag name="EE4P_AGENDAWIZARD_CONTENT" val="/Efficient Utilization of Human Demonstration Data"/>
  <p:tag name="EE4P_AGENDAWIZARD_PROPERTIES" val="77.00465/171.7547/374.6231/31.50472"/>
</p:tagLst>
</file>

<file path=ppt/tags/tag2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ItemNo"/>
  <p:tag name="EE4P_AGENDAWIZARD_CONTENT" val="/2"/>
  <p:tag name="EE4P_AGENDAWIZARD_PROPERTIES" val="40.49992/171.7547/31.50472/31.50472"/>
</p:tagLst>
</file>

<file path=ppt/tags/tag2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PageNo"/>
  <p:tag name="EE4P_AGENDAWIZARD_PROPERTIES" val="904.8554/135.25/8.45685/31.50472"/>
  <p:tag name="EE4P_AGENDAWIZARD_CONTENT" val="/187"/>
</p:tagLst>
</file>

<file path=ppt/tags/tag2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Topic"/>
  <p:tag name="EE4P_AGENDAWIZARD_CONTENT" val="/High-quality Robotic Datasets"/>
  <p:tag name="EE4P_AGENDAWIZARD_PROPERTIES" val="77.00465/135.25/374.6231/31.50472"/>
</p:tagLst>
</file>

<file path=ppt/tags/tag2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ItemNo"/>
  <p:tag name="EE4P_AGENDAWIZARD_CONTENT" val="/1"/>
  <p:tag name="EE4P_AGENDAWIZARD_PROPERTIES" val="40.49992/135.25/31.50472/31.50472"/>
</p:tagLst>
</file>

<file path=ppt/tags/tag2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d024657-cbb6-4c93-8065-91c2ce2e72e0"/>
</p:tagLst>
</file>

<file path=ppt/tags/tag2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PageNo"/>
  <p:tag name="EE4P_AGENDAWIZARD_PROPERTIES" val="904.8554/354.2784/8.45685/31.5048"/>
  <p:tag name="EE4P_AGENDAWIZARD_CONTENT" val="/199"/>
</p:tagLst>
</file>

<file path=ppt/tags/tag2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Topic"/>
  <p:tag name="EE4P_AGENDAWIZARD_CONTENT" val="/Unified Evaluation Benchmark"/>
  <p:tag name="EE4P_AGENDAWIZARD_PROPERTIES" val="77.00465/354.2784/374.6231/31.5048"/>
</p:tagLst>
</file>

<file path=ppt/tags/tag2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ItemNo"/>
  <p:tag name="EE4P_AGENDAWIZARD_CONTENT" val="/7"/>
  <p:tag name="EE4P_AGENDAWIZARD_PROPERTIES" val="40.49992/354.2784/31.50472/31.5048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PageNo"/>
  <p:tag name="EE4P_AGENDAWIZARD_PROPERTIES" val="904.8554/317.7736/8.45685/31.50472"/>
  <p:tag name="EE4P_AGENDAWIZARD_CONTENT" val="/21"/>
</p:tagLst>
</file>

<file path=ppt/tags/tag2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PageNo"/>
  <p:tag name="EE4P_AGENDAWIZARD_PROPERTIES" val="904.8554/317.7736/8.45685/31.50472"/>
  <p:tag name="EE4P_AGENDAWIZARD_CONTENT" val="/197"/>
</p:tagLst>
</file>

<file path=ppt/tags/tag2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Topic"/>
  <p:tag name="EE4P_AGENDAWIZARD_CONTENT" val="/Continual Learning"/>
  <p:tag name="EE4P_AGENDAWIZARD_PROPERTIES" val="77.00465/317.7736/374.6231/31.50472"/>
</p:tagLst>
</file>

<file path=ppt/tags/tag2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ItemNo"/>
  <p:tag name="EE4P_AGENDAWIZARD_CONTENT" val="/6"/>
  <p:tag name="EE4P_AGENDAWIZARD_PROPERTIES" val="40.49992/317.7736/31.50472/31.50472"/>
</p:tagLst>
</file>

<file path=ppt/tags/tag2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PageNo"/>
  <p:tag name="EE4P_AGENDAWIZARD_PROPERTIES" val="904.8554/281.2689/8.45685/31.50472"/>
  <p:tag name="EE4P_AGENDAWIZARD_CONTENT" val="/195"/>
</p:tagLst>
</file>

<file path=ppt/tags/tag2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Topic"/>
  <p:tag name="EE4P_AGENDAWIZARD_CONTENT" val="/Causal Relation Discovery"/>
  <p:tag name="EE4P_AGENDAWIZARD_PROPERTIES" val="77.00465/281.2689/374.6231/31.50472"/>
</p:tagLst>
</file>

<file path=ppt/tags/tag2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ItemNo"/>
  <p:tag name="EE4P_AGENDAWIZARD_CONTENT" val="/5"/>
  <p:tag name="EE4P_AGENDAWIZARD_PROPERTIES" val="40.49992/281.2689/31.50472/31.50472"/>
</p:tagLst>
</file>

<file path=ppt/tags/tag2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PageNo"/>
  <p:tag name="EE4P_AGENDAWIZARD_PROPERTIES" val="904.8554/244.7642/8.45685/31.50472"/>
  <p:tag name="EE4P_AGENDAWIZARD_CONTENT" val="/193"/>
</p:tagLst>
</file>

<file path=ppt/tags/tag2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Topic"/>
  <p:tag name="EE4P_AGENDAWIZARD_CONTENT" val="/Long-Horizon Task Execution"/>
  <p:tag name="EE4P_AGENDAWIZARD_PROPERTIES" val="77.00465/244.7642/374.6231/31.50472"/>
</p:tagLst>
</file>

<file path=ppt/tags/tag2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ItemNo"/>
  <p:tag name="EE4P_AGENDAWIZARD_CONTENT" val="/4"/>
  <p:tag name="EE4P_AGENDAWIZARD_PROPERTIES" val="40.49992/244.7642/31.50472/31.50472"/>
</p:tagLst>
</file>

<file path=ppt/tags/tag2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Elemen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Topic"/>
  <p:tag name="EE4P_AGENDAWIZARD_CONTENT" val="/Humanoid Robots"/>
  <p:tag name="EE4P_AGENDAWIZARD_PROPERTIES" val="77.00465/317.7736/145.5325/31.50472"/>
</p:tagLst>
</file>

<file path=ppt/tags/tag2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PageNo"/>
  <p:tag name="EE4P_AGENDAWIZARD_PROPERTIES" val="904.8554/208.2594/8.45685/31.50472"/>
  <p:tag name="EE4P_AGENDAWIZARD_CONTENT" val="/191"/>
</p:tagLst>
</file>

<file path=ppt/tags/tag2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Topic"/>
  <p:tag name="EE4P_AGENDAWIZARD_CONTENT" val="/Cognition of Complex Environment"/>
  <p:tag name="EE4P_AGENDAWIZARD_PROPERTIES" val="77.00465/208.2594/374.6231/31.50472"/>
</p:tagLst>
</file>

<file path=ppt/tags/tag2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ItemNo"/>
  <p:tag name="EE4P_AGENDAWIZARD_CONTENT" val="/3"/>
  <p:tag name="EE4P_AGENDAWIZARD_PROPERTIES" val="40.49992/208.2594/31.50472/31.50472"/>
</p:tagLst>
</file>

<file path=ppt/tags/tag2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PageNo"/>
  <p:tag name="EE4P_AGENDAWIZARD_PROPERTIES" val="904.8554/171.7547/8.45685/31.50472"/>
  <p:tag name="EE4P_AGENDAWIZARD_CONTENT" val="/189"/>
</p:tagLst>
</file>

<file path=ppt/tags/tag2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Topic"/>
  <p:tag name="EE4P_AGENDAWIZARD_CONTENT" val="/Efficient Utilization of Human Demonstration Data"/>
  <p:tag name="EE4P_AGENDAWIZARD_PROPERTIES" val="77.00465/171.7547/374.6231/31.50472"/>
</p:tagLst>
</file>

<file path=ppt/tags/tag2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ItemNo"/>
  <p:tag name="EE4P_AGENDAWIZARD_CONTENT" val="/2"/>
  <p:tag name="EE4P_AGENDAWIZARD_PROPERTIES" val="40.49992/171.7547/31.50472/31.50472"/>
</p:tagLst>
</file>

<file path=ppt/tags/tag2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PageNo"/>
  <p:tag name="EE4P_AGENDAWIZARD_PROPERTIES" val="904.8554/135.25/8.45685/31.50472"/>
  <p:tag name="EE4P_AGENDAWIZARD_CONTENT" val="/187"/>
</p:tagLst>
</file>

<file path=ppt/tags/tag2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Topic"/>
  <p:tag name="EE4P_AGENDAWIZARD_CONTENT" val="/High-quality Robotic Datasets"/>
  <p:tag name="EE4P_AGENDAWIZARD_PROPERTIES" val="77.00465/135.25/374.6231/31.50472"/>
</p:tagLst>
</file>

<file path=ppt/tags/tag2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ItemNo"/>
  <p:tag name="EE4P_AGENDAWIZARD_CONTENT" val="/1"/>
  <p:tag name="EE4P_AGENDAWIZARD_PROPERTIES" val="40.49992/135.25/31.50472/31.50472"/>
</p:tagLst>
</file>

<file path=ppt/tags/tag2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ItemNo"/>
  <p:tag name="EE4P_AGENDAWIZARD_CONTENT" val="/6"/>
  <p:tag name="EE4P_AGENDAWIZARD_PROPERTIES" val="40.49992/317.7736/31.50472/31.50472"/>
</p:tagLst>
</file>

<file path=ppt/tags/tag2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8017fa5-4196-4d0d-8b39-a7e1d2936f76"/>
</p:tagLst>
</file>

<file path=ppt/tags/tag2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PageNo"/>
  <p:tag name="EE4P_AGENDAWIZARD_PROPERTIES" val="904.8554/354.2784/8.45685/31.5048"/>
  <p:tag name="EE4P_AGENDAWIZARD_CONTENT" val="/199"/>
</p:tagLst>
</file>

<file path=ppt/tags/tag2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Topic"/>
  <p:tag name="EE4P_AGENDAWIZARD_CONTENT" val="/Unified Evaluation Benchmark"/>
  <p:tag name="EE4P_AGENDAWIZARD_PROPERTIES" val="77.00465/354.2784/374.6231/31.5048"/>
</p:tagLst>
</file>

<file path=ppt/tags/tag2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ItemNo"/>
  <p:tag name="EE4P_AGENDAWIZARD_CONTENT" val="/7"/>
  <p:tag name="EE4P_AGENDAWIZARD_PROPERTIES" val="40.49992/354.2784/31.50472/31.5048"/>
</p:tagLst>
</file>

<file path=ppt/tags/tag2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PageNo"/>
  <p:tag name="EE4P_AGENDAWIZARD_PROPERTIES" val="904.8554/317.7736/8.45685/31.50472"/>
  <p:tag name="EE4P_AGENDAWIZARD_CONTENT" val="/197"/>
</p:tagLst>
</file>

<file path=ppt/tags/tag2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Topic"/>
  <p:tag name="EE4P_AGENDAWIZARD_CONTENT" val="/Continual Learning"/>
  <p:tag name="EE4P_AGENDAWIZARD_PROPERTIES" val="77.00465/317.7736/374.6231/31.50472"/>
</p:tagLst>
</file>

<file path=ppt/tags/tag2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ItemNo"/>
  <p:tag name="EE4P_AGENDAWIZARD_CONTENT" val="/6"/>
  <p:tag name="EE4P_AGENDAWIZARD_PROPERTIES" val="40.49992/317.7736/31.50472/31.50472"/>
</p:tagLst>
</file>

<file path=ppt/tags/tag2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PageNo"/>
  <p:tag name="EE4P_AGENDAWIZARD_PROPERTIES" val="904.8554/281.2689/8.45685/31.50472"/>
  <p:tag name="EE4P_AGENDAWIZARD_CONTENT" val="/195"/>
</p:tagLst>
</file>

<file path=ppt/tags/tag2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Topic"/>
  <p:tag name="EE4P_AGENDAWIZARD_CONTENT" val="/Causal Relation Discovery"/>
  <p:tag name="EE4P_AGENDAWIZARD_PROPERTIES" val="77.00465/281.2689/374.6231/31.50472"/>
</p:tagLst>
</file>

<file path=ppt/tags/tag2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ItemNo"/>
  <p:tag name="EE4P_AGENDAWIZARD_CONTENT" val="/5"/>
  <p:tag name="EE4P_AGENDAWIZARD_PROPERTIES" val="40.49992/281.2689/31.50472/31.5047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PageNo"/>
  <p:tag name="EE4P_AGENDAWIZARD_PROPERTIES" val="904.8554/281.2689/8.45685/31.50472"/>
  <p:tag name="EE4P_AGENDAWIZARD_CONTENT" val="/19"/>
</p:tagLst>
</file>

<file path=ppt/tags/tag2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Element"/>
</p:tagLst>
</file>

<file path=ppt/tags/tag2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PageNo"/>
  <p:tag name="EE4P_AGENDAWIZARD_PROPERTIES" val="904.8554/244.7642/8.45685/31.50472"/>
  <p:tag name="EE4P_AGENDAWIZARD_CONTENT" val="/193"/>
</p:tagLst>
</file>

<file path=ppt/tags/tag2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Topic"/>
  <p:tag name="EE4P_AGENDAWIZARD_CONTENT" val="/Long-Horizon Task Execution"/>
  <p:tag name="EE4P_AGENDAWIZARD_PROPERTIES" val="77.00465/244.7642/374.6231/31.50472"/>
</p:tagLst>
</file>

<file path=ppt/tags/tag2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ItemNo"/>
  <p:tag name="EE4P_AGENDAWIZARD_CONTENT" val="/4"/>
  <p:tag name="EE4P_AGENDAWIZARD_PROPERTIES" val="40.49992/244.7642/31.50472/31.50472"/>
</p:tagLst>
</file>

<file path=ppt/tags/tag2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PageNo"/>
  <p:tag name="EE4P_AGENDAWIZARD_PROPERTIES" val="904.8554/208.2594/8.45685/31.50472"/>
  <p:tag name="EE4P_AGENDAWIZARD_CONTENT" val="/191"/>
</p:tagLst>
</file>

<file path=ppt/tags/tag2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Topic"/>
  <p:tag name="EE4P_AGENDAWIZARD_CONTENT" val="/Cognition of Complex Environment"/>
  <p:tag name="EE4P_AGENDAWIZARD_PROPERTIES" val="77.00465/208.2594/374.6231/31.50472"/>
</p:tagLst>
</file>

<file path=ppt/tags/tag2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ItemNo"/>
  <p:tag name="EE4P_AGENDAWIZARD_CONTENT" val="/3"/>
  <p:tag name="EE4P_AGENDAWIZARD_PROPERTIES" val="40.49992/208.2594/31.50472/31.50472"/>
</p:tagLst>
</file>

<file path=ppt/tags/tag2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PageNo"/>
  <p:tag name="EE4P_AGENDAWIZARD_PROPERTIES" val="904.8554/171.7547/8.45685/31.50472"/>
  <p:tag name="EE4P_AGENDAWIZARD_CONTENT" val="/189"/>
</p:tagLst>
</file>

<file path=ppt/tags/tag2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Topic"/>
  <p:tag name="EE4P_AGENDAWIZARD_CONTENT" val="/Efficient Utilization of Human Demonstration Data"/>
  <p:tag name="EE4P_AGENDAWIZARD_PROPERTIES" val="77.00465/171.7547/374.6231/31.50472"/>
</p:tagLst>
</file>

<file path=ppt/tags/tag2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ItemNo"/>
  <p:tag name="EE4P_AGENDAWIZARD_CONTENT" val="/2"/>
  <p:tag name="EE4P_AGENDAWIZARD_PROPERTIES" val="40.49992/171.7547/31.50472/31.5047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Topic"/>
  <p:tag name="EE4P_AGENDAWIZARD_CONTENT" val="/Quadruped Robots"/>
  <p:tag name="EE4P_AGENDAWIZARD_PROPERTIES" val="77.00465/281.2689/145.5325/31.50472"/>
</p:tagLst>
</file>

<file path=ppt/tags/tag2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PageNo"/>
  <p:tag name="EE4P_AGENDAWIZARD_PROPERTIES" val="904.8554/135.25/8.45685/31.50472"/>
  <p:tag name="EE4P_AGENDAWIZARD_CONTENT" val="/187"/>
</p:tagLst>
</file>

<file path=ppt/tags/tag2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Topic"/>
  <p:tag name="EE4P_AGENDAWIZARD_CONTENT" val="/High-quality Robotic Datasets"/>
  <p:tag name="EE4P_AGENDAWIZARD_PROPERTIES" val="77.00465/135.25/374.6231/31.50472"/>
</p:tagLst>
</file>

<file path=ppt/tags/tag2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ItemNo"/>
  <p:tag name="EE4P_AGENDAWIZARD_CONTENT" val="/1"/>
  <p:tag name="EE4P_AGENDAWIZARD_PROPERTIES" val="40.49992/135.25/31.50472/31.50472"/>
</p:tagLst>
</file>

<file path=ppt/tags/tag2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88fb87e-0939-46c9-88db-d88e6c971aa4"/>
</p:tagLst>
</file>

<file path=ppt/tags/tag2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PageNo"/>
  <p:tag name="EE4P_AGENDAWIZARD_PROPERTIES" val="904.8554/354.2784/8.45685/31.5048"/>
  <p:tag name="EE4P_AGENDAWIZARD_CONTENT" val="/199"/>
</p:tagLst>
</file>

<file path=ppt/tags/tag2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Topic"/>
  <p:tag name="EE4P_AGENDAWIZARD_CONTENT" val="/Unified Evaluation Benchmark"/>
  <p:tag name="EE4P_AGENDAWIZARD_PROPERTIES" val="77.00465/354.2784/374.6231/31.5048"/>
</p:tagLst>
</file>

<file path=ppt/tags/tag2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ItemNo"/>
  <p:tag name="EE4P_AGENDAWIZARD_CONTENT" val="/7"/>
  <p:tag name="EE4P_AGENDAWIZARD_PROPERTIES" val="40.49992/354.2784/31.50472/31.5048"/>
</p:tagLst>
</file>

<file path=ppt/tags/tag2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PageNo"/>
  <p:tag name="EE4P_AGENDAWIZARD_PROPERTIES" val="904.8554/317.7736/8.45685/31.50472"/>
  <p:tag name="EE4P_AGENDAWIZARD_CONTENT" val="/197"/>
</p:tagLst>
</file>

<file path=ppt/tags/tag2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Topic"/>
  <p:tag name="EE4P_AGENDAWIZARD_CONTENT" val="/Continual Learning"/>
  <p:tag name="EE4P_AGENDAWIZARD_PROPERTIES" val="77.00465/317.7736/374.6231/31.5047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ItemNo"/>
  <p:tag name="EE4P_AGENDAWIZARD_CONTENT" val="/5"/>
  <p:tag name="EE4P_AGENDAWIZARD_PROPERTIES" val="40.49992/281.2689/31.50472/31.50472"/>
</p:tagLst>
</file>

<file path=ppt/tags/tag2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ItemNo"/>
  <p:tag name="EE4P_AGENDAWIZARD_CONTENT" val="/6"/>
  <p:tag name="EE4P_AGENDAWIZARD_PROPERTIES" val="40.49992/317.7736/31.50472/31.50472"/>
</p:tagLst>
</file>

<file path=ppt/tags/tag2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Element"/>
</p:tagLst>
</file>

<file path=ppt/tags/tag2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PageNo"/>
  <p:tag name="EE4P_AGENDAWIZARD_PROPERTIES" val="904.8554/281.2689/8.45685/31.50472"/>
  <p:tag name="EE4P_AGENDAWIZARD_CONTENT" val="/195"/>
</p:tagLst>
</file>

<file path=ppt/tags/tag2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Topic"/>
  <p:tag name="EE4P_AGENDAWIZARD_CONTENT" val="/Causal Relation Discovery"/>
  <p:tag name="EE4P_AGENDAWIZARD_PROPERTIES" val="77.00465/281.2689/374.6231/31.50472"/>
</p:tagLst>
</file>

<file path=ppt/tags/tag2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ItemNo"/>
  <p:tag name="EE4P_AGENDAWIZARD_CONTENT" val="/5"/>
  <p:tag name="EE4P_AGENDAWIZARD_PROPERTIES" val="40.49992/281.2689/31.50472/31.50472"/>
</p:tagLst>
</file>

<file path=ppt/tags/tag2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PageNo"/>
  <p:tag name="EE4P_AGENDAWIZARD_PROPERTIES" val="904.8554/244.7642/8.45685/31.50472"/>
  <p:tag name="EE4P_AGENDAWIZARD_CONTENT" val="/193"/>
</p:tagLst>
</file>

<file path=ppt/tags/tag2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Topic"/>
  <p:tag name="EE4P_AGENDAWIZARD_CONTENT" val="/Long-Horizon Task Execution"/>
  <p:tag name="EE4P_AGENDAWIZARD_PROPERTIES" val="77.00465/244.7642/374.6231/31.50472"/>
</p:tagLst>
</file>

<file path=ppt/tags/tag2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ItemNo"/>
  <p:tag name="EE4P_AGENDAWIZARD_CONTENT" val="/4"/>
  <p:tag name="EE4P_AGENDAWIZARD_PROPERTIES" val="40.49992/244.7642/31.50472/31.50472"/>
</p:tagLst>
</file>

<file path=ppt/tags/tag2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PageNo"/>
  <p:tag name="EE4P_AGENDAWIZARD_PROPERTIES" val="904.8554/208.2594/8.45685/31.50472"/>
  <p:tag name="EE4P_AGENDAWIZARD_CONTENT" val="/191"/>
</p:tagLst>
</file>

<file path=ppt/tags/tag2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Topic"/>
  <p:tag name="EE4P_AGENDAWIZARD_CONTENT" val="/Cognition of Complex Environment"/>
  <p:tag name="EE4P_AGENDAWIZARD_PROPERTIES" val="77.00465/208.2594/374.6231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33.3821/31.5047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PageNo"/>
  <p:tag name="EE4P_AGENDAWIZARD_PROPERTIES" val="904.8554/244.7642/8.45685/31.50472"/>
  <p:tag name="EE4P_AGENDAWIZARD_CONTENT" val="/17"/>
</p:tagLst>
</file>

<file path=ppt/tags/tag2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ItemNo"/>
  <p:tag name="EE4P_AGENDAWIZARD_CONTENT" val="/3"/>
  <p:tag name="EE4P_AGENDAWIZARD_PROPERTIES" val="40.49992/208.2594/31.50472/31.50472"/>
</p:tagLst>
</file>

<file path=ppt/tags/tag2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PageNo"/>
  <p:tag name="EE4P_AGENDAWIZARD_PROPERTIES" val="904.8554/171.7547/8.45685/31.50472"/>
  <p:tag name="EE4P_AGENDAWIZARD_CONTENT" val="/189"/>
</p:tagLst>
</file>

<file path=ppt/tags/tag2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Topic"/>
  <p:tag name="EE4P_AGENDAWIZARD_CONTENT" val="/Efficient Utilization of Human Demonstration Data"/>
  <p:tag name="EE4P_AGENDAWIZARD_PROPERTIES" val="77.00465/171.7547/374.6231/31.50472"/>
</p:tagLst>
</file>

<file path=ppt/tags/tag2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ItemNo"/>
  <p:tag name="EE4P_AGENDAWIZARD_CONTENT" val="/2"/>
  <p:tag name="EE4P_AGENDAWIZARD_PROPERTIES" val="40.49992/171.7547/31.50472/31.50472"/>
</p:tagLst>
</file>

<file path=ppt/tags/tag2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PageNo"/>
  <p:tag name="EE4P_AGENDAWIZARD_PROPERTIES" val="904.8554/135.25/8.45685/31.50472"/>
  <p:tag name="EE4P_AGENDAWIZARD_CONTENT" val="/187"/>
</p:tagLst>
</file>

<file path=ppt/tags/tag2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Topic"/>
  <p:tag name="EE4P_AGENDAWIZARD_CONTENT" val="/High-quality Robotic Datasets"/>
  <p:tag name="EE4P_AGENDAWIZARD_PROPERTIES" val="77.00465/135.25/374.6231/31.50472"/>
</p:tagLst>
</file>

<file path=ppt/tags/tag2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ItemNo"/>
  <p:tag name="EE4P_AGENDAWIZARD_CONTENT" val="/1"/>
  <p:tag name="EE4P_AGENDAWIZARD_PROPERTIES" val="40.49992/135.25/31.50472/31.50472"/>
</p:tagLst>
</file>

<file path=ppt/tags/tag2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83b14b4-b080-43fe-91ec-53c14d2ae9e5"/>
</p:tagLst>
</file>

<file path=ppt/tags/tag2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PageNo"/>
  <p:tag name="EE4P_AGENDAWIZARD_PROPERTIES" val="904.8554/354.2784/8.45685/31.5048"/>
  <p:tag name="EE4P_AGENDAWIZARD_CONTENT" val="/199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Topic"/>
  <p:tag name="EE4P_AGENDAWIZARD_CONTENT" val="/Tracked Robots"/>
  <p:tag name="EE4P_AGENDAWIZARD_PROPERTIES" val="77.00465/244.7642/145.5325/31.50472"/>
</p:tagLst>
</file>

<file path=ppt/tags/tag2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Topic"/>
  <p:tag name="EE4P_AGENDAWIZARD_CONTENT" val="/Unified Evaluation Benchmark"/>
  <p:tag name="EE4P_AGENDAWIZARD_PROPERTIES" val="77.00465/354.2784/374.6231/31.5048"/>
</p:tagLst>
</file>

<file path=ppt/tags/tag2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ItemNo"/>
  <p:tag name="EE4P_AGENDAWIZARD_CONTENT" val="/7"/>
  <p:tag name="EE4P_AGENDAWIZARD_PROPERTIES" val="40.49992/354.2784/31.50472/31.5048"/>
</p:tagLst>
</file>

<file path=ppt/tags/tag2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Element"/>
</p:tagLst>
</file>

<file path=ppt/tags/tag2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PageNo"/>
  <p:tag name="EE4P_AGENDAWIZARD_PROPERTIES" val="904.8554/317.7736/8.45685/31.50472"/>
  <p:tag name="EE4P_AGENDAWIZARD_CONTENT" val="/197"/>
</p:tagLst>
</file>

<file path=ppt/tags/tag2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Topic"/>
  <p:tag name="EE4P_AGENDAWIZARD_CONTENT" val="/Continual Learning"/>
  <p:tag name="EE4P_AGENDAWIZARD_PROPERTIES" val="77.00465/317.7736/374.6231/31.50472"/>
</p:tagLst>
</file>

<file path=ppt/tags/tag2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ItemNo"/>
  <p:tag name="EE4P_AGENDAWIZARD_CONTENT" val="/6"/>
  <p:tag name="EE4P_AGENDAWIZARD_PROPERTIES" val="40.49992/317.7736/31.50472/31.50472"/>
</p:tagLst>
</file>

<file path=ppt/tags/tag2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PageNo"/>
  <p:tag name="EE4P_AGENDAWIZARD_PROPERTIES" val="904.8554/281.2689/8.45685/31.50472"/>
  <p:tag name="EE4P_AGENDAWIZARD_CONTENT" val="/195"/>
</p:tagLst>
</file>

<file path=ppt/tags/tag2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Topic"/>
  <p:tag name="EE4P_AGENDAWIZARD_CONTENT" val="/Causal Relation Discovery"/>
  <p:tag name="EE4P_AGENDAWIZARD_PROPERTIES" val="77.00465/281.2689/374.6231/31.50472"/>
</p:tagLst>
</file>

<file path=ppt/tags/tag2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ItemNo"/>
  <p:tag name="EE4P_AGENDAWIZARD_CONTENT" val="/5"/>
  <p:tag name="EE4P_AGENDAWIZARD_PROPERTIES" val="40.49992/281.2689/31.50472/31.50472"/>
</p:tagLst>
</file>

<file path=ppt/tags/tag2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PageNo"/>
  <p:tag name="EE4P_AGENDAWIZARD_PROPERTIES" val="904.8554/244.7642/8.45685/31.50472"/>
  <p:tag name="EE4P_AGENDAWIZARD_CONTENT" val="/193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ItemNo"/>
  <p:tag name="EE4P_AGENDAWIZARD_CONTENT" val="/4"/>
  <p:tag name="EE4P_AGENDAWIZARD_PROPERTIES" val="40.49992/244.7642/31.50472/31.50472"/>
</p:tagLst>
</file>

<file path=ppt/tags/tag2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Topic"/>
  <p:tag name="EE4P_AGENDAWIZARD_CONTENT" val="/Long-Horizon Task Execution"/>
  <p:tag name="EE4P_AGENDAWIZARD_PROPERTIES" val="77.00465/244.7642/374.6231/31.50472"/>
</p:tagLst>
</file>

<file path=ppt/tags/tag2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ItemNo"/>
  <p:tag name="EE4P_AGENDAWIZARD_CONTENT" val="/4"/>
  <p:tag name="EE4P_AGENDAWIZARD_PROPERTIES" val="40.49992/244.7642/31.50472/31.50472"/>
</p:tagLst>
</file>

<file path=ppt/tags/tag2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PageNo"/>
  <p:tag name="EE4P_AGENDAWIZARD_PROPERTIES" val="904.8554/208.2594/8.45685/31.50472"/>
  <p:tag name="EE4P_AGENDAWIZARD_CONTENT" val="/191"/>
</p:tagLst>
</file>

<file path=ppt/tags/tag2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Topic"/>
  <p:tag name="EE4P_AGENDAWIZARD_CONTENT" val="/Cognition of Complex Environment"/>
  <p:tag name="EE4P_AGENDAWIZARD_PROPERTIES" val="77.00465/208.2594/374.6231/31.50472"/>
</p:tagLst>
</file>

<file path=ppt/tags/tag2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ItemNo"/>
  <p:tag name="EE4P_AGENDAWIZARD_CONTENT" val="/3"/>
  <p:tag name="EE4P_AGENDAWIZARD_PROPERTIES" val="40.49992/208.2594/31.50472/31.50472"/>
</p:tagLst>
</file>

<file path=ppt/tags/tag2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PageNo"/>
  <p:tag name="EE4P_AGENDAWIZARD_PROPERTIES" val="904.8554/171.7547/8.45685/31.50472"/>
  <p:tag name="EE4P_AGENDAWIZARD_CONTENT" val="/189"/>
</p:tagLst>
</file>

<file path=ppt/tags/tag2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Topic"/>
  <p:tag name="EE4P_AGENDAWIZARD_CONTENT" val="/Efficient Utilization of Human Demonstration Data"/>
  <p:tag name="EE4P_AGENDAWIZARD_PROPERTIES" val="77.00465/171.7547/374.6231/31.50472"/>
</p:tagLst>
</file>

<file path=ppt/tags/tag2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ItemNo"/>
  <p:tag name="EE4P_AGENDAWIZARD_CONTENT" val="/2"/>
  <p:tag name="EE4P_AGENDAWIZARD_PROPERTIES" val="40.49992/171.7547/31.50472/31.50472"/>
</p:tagLst>
</file>

<file path=ppt/tags/tag2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PageNo"/>
  <p:tag name="EE4P_AGENDAWIZARD_PROPERTIES" val="904.8554/135.25/8.45685/31.50472"/>
  <p:tag name="EE4P_AGENDAWIZARD_CONTENT" val="/187"/>
</p:tagLst>
</file>

<file path=ppt/tags/tag2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Topic"/>
  <p:tag name="EE4P_AGENDAWIZARD_CONTENT" val="/High-quality Robotic Datasets"/>
  <p:tag name="EE4P_AGENDAWIZARD_PROPERTIES" val="77.00465/135.25/374.6231/31.5047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PageNo"/>
  <p:tag name="EE4P_AGENDAWIZARD_PROPERTIES" val="904.8554/208.2594/8.45685/31.50472"/>
  <p:tag name="EE4P_AGENDAWIZARD_CONTENT" val="/15"/>
</p:tagLst>
</file>

<file path=ppt/tags/tag2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ItemNo"/>
  <p:tag name="EE4P_AGENDAWIZARD_CONTENT" val="/1"/>
  <p:tag name="EE4P_AGENDAWIZARD_PROPERTIES" val="40.49992/135.25/31.50472/31.50472"/>
</p:tagLst>
</file>

<file path=ppt/tags/tag2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d5a955c-da9c-4446-975f-6d5e8d74dcb7"/>
</p:tagLst>
</file>

<file path=ppt/tags/tag2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Element"/>
</p:tagLst>
</file>

<file path=ppt/tags/tag2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PageNo"/>
  <p:tag name="EE4P_AGENDAWIZARD_PROPERTIES" val="904.8554/354.2784/8.45685/31.5048"/>
  <p:tag name="EE4P_AGENDAWIZARD_CONTENT" val="/199"/>
</p:tagLst>
</file>

<file path=ppt/tags/tag2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Topic"/>
  <p:tag name="EE4P_AGENDAWIZARD_CONTENT" val="/Unified Evaluation Benchmark"/>
  <p:tag name="EE4P_AGENDAWIZARD_PROPERTIES" val="77.00465/354.2784/374.6231/31.5048"/>
</p:tagLst>
</file>

<file path=ppt/tags/tag2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5a955c-da9c-4446-975f-6d5e8d74dcb7_ItemNo"/>
  <p:tag name="EE4P_AGENDAWIZARD_CONTENT" val="/7"/>
  <p:tag name="EE4P_AGENDAWIZARD_PROPERTIES" val="40.49992/354.2784/31.50472/31.5048"/>
</p:tagLst>
</file>

<file path=ppt/tags/tag2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PageNo"/>
  <p:tag name="EE4P_AGENDAWIZARD_PROPERTIES" val="904.8554/317.7736/8.45685/31.50472"/>
  <p:tag name="EE4P_AGENDAWIZARD_CONTENT" val="/197"/>
</p:tagLst>
</file>

<file path=ppt/tags/tag2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Topic"/>
  <p:tag name="EE4P_AGENDAWIZARD_CONTENT" val="/Continual Learning"/>
  <p:tag name="EE4P_AGENDAWIZARD_PROPERTIES" val="77.00465/317.7736/374.6231/31.50472"/>
</p:tagLst>
</file>

<file path=ppt/tags/tag2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83b14b4-b080-43fe-91ec-53c14d2ae9e5_ItemNo"/>
  <p:tag name="EE4P_AGENDAWIZARD_CONTENT" val="/6"/>
  <p:tag name="EE4P_AGENDAWIZARD_PROPERTIES" val="40.49992/317.7736/31.50472/31.5047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Topic"/>
  <p:tag name="EE4P_AGENDAWIZARD_CONTENT" val="/Wheeled Robots"/>
  <p:tag name="EE4P_AGENDAWIZARD_PROPERTIES" val="77.00465/208.2594/145.5325/31.50472"/>
</p:tagLst>
</file>

<file path=ppt/tags/tag2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PageNo"/>
  <p:tag name="EE4P_AGENDAWIZARD_PROPERTIES" val="904.8554/281.2689/8.45685/31.50472"/>
  <p:tag name="EE4P_AGENDAWIZARD_CONTENT" val="/195"/>
</p:tagLst>
</file>

<file path=ppt/tags/tag2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Topic"/>
  <p:tag name="EE4P_AGENDAWIZARD_CONTENT" val="/Causal Relation Discovery"/>
  <p:tag name="EE4P_AGENDAWIZARD_PROPERTIES" val="77.00465/281.2689/374.6231/31.50472"/>
</p:tagLst>
</file>

<file path=ppt/tags/tag2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88fb87e-0939-46c9-88db-d88e6c971aa4_ItemNo"/>
  <p:tag name="EE4P_AGENDAWIZARD_CONTENT" val="/5"/>
  <p:tag name="EE4P_AGENDAWIZARD_PROPERTIES" val="40.49992/281.2689/31.50472/31.50472"/>
</p:tagLst>
</file>

<file path=ppt/tags/tag2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PageNo"/>
  <p:tag name="EE4P_AGENDAWIZARD_PROPERTIES" val="904.8554/244.7642/8.45685/31.50472"/>
  <p:tag name="EE4P_AGENDAWIZARD_CONTENT" val="/193"/>
</p:tagLst>
</file>

<file path=ppt/tags/tag2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Topic"/>
  <p:tag name="EE4P_AGENDAWIZARD_CONTENT" val="/Long-Horizon Task Execution"/>
  <p:tag name="EE4P_AGENDAWIZARD_PROPERTIES" val="77.00465/244.7642/374.6231/31.50472"/>
</p:tagLst>
</file>

<file path=ppt/tags/tag2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017fa5-4196-4d0d-8b39-a7e1d2936f76_ItemNo"/>
  <p:tag name="EE4P_AGENDAWIZARD_CONTENT" val="/4"/>
  <p:tag name="EE4P_AGENDAWIZARD_PROPERTIES" val="40.49992/244.7642/31.50472/31.50472"/>
</p:tagLst>
</file>

<file path=ppt/tags/tag2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PageNo"/>
  <p:tag name="EE4P_AGENDAWIZARD_PROPERTIES" val="904.8554/208.2594/8.45685/31.50472"/>
  <p:tag name="EE4P_AGENDAWIZARD_CONTENT" val="/191"/>
</p:tagLst>
</file>

<file path=ppt/tags/tag2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Topic"/>
  <p:tag name="EE4P_AGENDAWIZARD_CONTENT" val="/Cognition of Complex Environment"/>
  <p:tag name="EE4P_AGENDAWIZARD_PROPERTIES" val="77.00465/208.2594/374.6231/31.50472"/>
</p:tagLst>
</file>

<file path=ppt/tags/tag2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024657-cbb6-4c93-8065-91c2ce2e72e0_ItemNo"/>
  <p:tag name="EE4P_AGENDAWIZARD_CONTENT" val="/3"/>
  <p:tag name="EE4P_AGENDAWIZARD_PROPERTIES" val="40.49992/208.2594/31.50472/31.50472"/>
</p:tagLst>
</file>

<file path=ppt/tags/tag2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PageNo"/>
  <p:tag name="EE4P_AGENDAWIZARD_PROPERTIES" val="904.8554/171.7547/8.45685/31.50472"/>
  <p:tag name="EE4P_AGENDAWIZARD_CONTENT" val="/189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ItemNo"/>
  <p:tag name="EE4P_AGENDAWIZARD_CONTENT" val="/3"/>
  <p:tag name="EE4P_AGENDAWIZARD_PROPERTIES" val="40.49992/208.2594/31.50472/31.50472"/>
</p:tagLst>
</file>

<file path=ppt/tags/tag2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Topic"/>
  <p:tag name="EE4P_AGENDAWIZARD_CONTENT" val="/Efficient Utilization of Human Demonstration Data"/>
  <p:tag name="EE4P_AGENDAWIZARD_PROPERTIES" val="77.00465/171.7547/374.6231/31.50472"/>
</p:tagLst>
</file>

<file path=ppt/tags/tag2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02bddaa-b818-4dbc-b331-69aceee73407_ItemNo"/>
  <p:tag name="EE4P_AGENDAWIZARD_CONTENT" val="/2"/>
  <p:tag name="EE4P_AGENDAWIZARD_PROPERTIES" val="40.49992/171.7547/31.50472/31.50472"/>
</p:tagLst>
</file>

<file path=ppt/tags/tag2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PageNo"/>
  <p:tag name="EE4P_AGENDAWIZARD_PROPERTIES" val="904.8554/135.25/8.45685/31.50472"/>
  <p:tag name="EE4P_AGENDAWIZARD_CONTENT" val="/187"/>
</p:tagLst>
</file>

<file path=ppt/tags/tag2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Topic"/>
  <p:tag name="EE4P_AGENDAWIZARD_CONTENT" val="/High-quality Robotic Datasets"/>
  <p:tag name="EE4P_AGENDAWIZARD_PROPERTIES" val="77.00465/135.25/374.6231/31.50472"/>
</p:tagLst>
</file>

<file path=ppt/tags/tag2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0616639-b8e9-4cf9-98c0-5f9b2745af0f_ItemNo"/>
  <p:tag name="EE4P_AGENDAWIZARD_CONTENT" val="/1"/>
  <p:tag name="EE4P_AGENDAWIZARD_PROPERTIES" val="40.49992/135.25/31.50472/31.50472"/>
</p:tagLst>
</file>

<file path=ppt/tags/tag2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PageNo"/>
  <p:tag name="EE4P_AGENDAWIZARD_PROPERTIES" val="904.8554/171.7547/8.45685/31.50472"/>
  <p:tag name="EE4P_AGENDAWIZARD_CONTENT" val="/13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Topic"/>
  <p:tag name="EE4P_AGENDAWIZARD_CONTENT" val="/Fixed-base Robots"/>
  <p:tag name="EE4P_AGENDAWIZARD_PROPERTIES" val="77.00465/171.7547/145.5325/31.5047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ItemNo"/>
  <p:tag name="EE4P_AGENDAWIZARD_CONTENT" val="/2"/>
  <p:tag name="EE4P_AGENDAWIZARD_PROPERTIES" val="40.49992/171.7547/31.50472/31.5047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PageNo"/>
  <p:tag name="EE4P_AGENDAWIZARD_PROPERTIES" val="904.8554/135.25/8.45685/31.50472"/>
  <p:tag name="EE4P_AGENDAWIZARD_CONTENT" val="/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Topic"/>
  <p:tag name="EE4P_AGENDAWIZARD_CONTENT" val="/Introduction"/>
  <p:tag name="EE4P_AGENDAWIZARD_PROPERTIES" val="77.00465/135.25/145.5325/31.5047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ItemNo"/>
  <p:tag name="EE4P_AGENDAWIZARD_CONTENT" val="/1"/>
  <p:tag name="EE4P_AGENDAWIZARD_PROPERTIES" val="40.49992/135.25/31.50472/31.5047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8b732f8-3ef4-4489-9966-ee5365a512dc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Elemen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PageNo"/>
  <p:tag name="EE4P_AGENDAWIZARD_PROPERTIES" val="904.8554/354.2784/8.45685/31.5048"/>
  <p:tag name="EE4P_AGENDAWIZARD_CONTENT" val="/23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Topic"/>
  <p:tag name="EE4P_AGENDAWIZARD_CONTENT" val="/Biomimetic Robots"/>
  <p:tag name="EE4P_AGENDAWIZARD_PROPERTIES" val="77.00465/354.2784/145.5325/31.5048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ItemNo"/>
  <p:tag name="EE4P_AGENDAWIZARD_CONTENT" val="/7"/>
  <p:tag name="EE4P_AGENDAWIZARD_PROPERTIES" val="40.49992/354.2784/31.50472/31.504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5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PageNo"/>
  <p:tag name="EE4P_AGENDAWIZARD_PROPERTIES" val="904.8554/317.7736/8.45685/31.50472"/>
  <p:tag name="EE4P_AGENDAWIZARD_CONTENT" val="/2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Topic"/>
  <p:tag name="EE4P_AGENDAWIZARD_CONTENT" val="/Humanoid Robots"/>
  <p:tag name="EE4P_AGENDAWIZARD_PROPERTIES" val="77.00465/317.7736/145.5325/31.5047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ItemNo"/>
  <p:tag name="EE4P_AGENDAWIZARD_CONTENT" val="/6"/>
  <p:tag name="EE4P_AGENDAWIZARD_PROPERTIES" val="40.49992/317.7736/31.50472/31.5047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PageNo"/>
  <p:tag name="EE4P_AGENDAWIZARD_PROPERTIES" val="904.8554/281.2689/8.45685/31.50472"/>
  <p:tag name="EE4P_AGENDAWIZARD_CONTENT" val="/19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Topic"/>
  <p:tag name="EE4P_AGENDAWIZARD_CONTENT" val="/Quadruped Robots"/>
  <p:tag name="EE4P_AGENDAWIZARD_PROPERTIES" val="77.00465/281.2689/145.5325/31.5047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ItemNo"/>
  <p:tag name="EE4P_AGENDAWIZARD_CONTENT" val="/5"/>
  <p:tag name="EE4P_AGENDAWIZARD_PROPERTIES" val="40.49992/281.2689/31.50472/31.50472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PageNo"/>
  <p:tag name="EE4P_AGENDAWIZARD_PROPERTIES" val="904.8554/244.7642/8.45685/31.50472"/>
  <p:tag name="EE4P_AGENDAWIZARD_CONTENT" val="/17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Topic"/>
  <p:tag name="EE4P_AGENDAWIZARD_CONTENT" val="/Tracked Robots"/>
  <p:tag name="EE4P_AGENDAWIZARD_PROPERTIES" val="77.00465/244.7642/145.5325/31.5047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da464e7-3bc2-4c05-9aaa-fed99bfa0207_ItemNo"/>
  <p:tag name="EE4P_AGENDAWIZARD_CONTENT" val="/4"/>
  <p:tag name="EE4P_AGENDAWIZARD_PROPERTIES" val="40.49992/244.7642/31.50472/31.50472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PageNo"/>
  <p:tag name="EE4P_AGENDAWIZARD_PROPERTIES" val="904.8554/208.2594/8.45685/31.50472"/>
  <p:tag name="EE4P_AGENDAWIZARD_CONTENT" val="/1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33.3821/31.5047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Topic"/>
  <p:tag name="EE4P_AGENDAWIZARD_CONTENT" val="/Wheeled Robots"/>
  <p:tag name="EE4P_AGENDAWIZARD_PROPERTIES" val="77.00465/208.2594/145.5325/31.5047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1d2a717-9dd7-4626-a97c-02ee6a77a1e8_ItemNo"/>
  <p:tag name="EE4P_AGENDAWIZARD_CONTENT" val="/3"/>
  <p:tag name="EE4P_AGENDAWIZARD_PROPERTIES" val="40.49992/208.2594/31.50472/31.5047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PageNo"/>
  <p:tag name="EE4P_AGENDAWIZARD_PROPERTIES" val="904.8554/171.7547/8.45685/31.50472"/>
  <p:tag name="EE4P_AGENDAWIZARD_CONTENT" val="/13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Topic"/>
  <p:tag name="EE4P_AGENDAWIZARD_CONTENT" val="/Fixed-base Robots"/>
  <p:tag name="EE4P_AGENDAWIZARD_PROPERTIES" val="77.00465/171.7547/145.5325/31.50472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efdf9b6-3494-4f4d-b961-6949580c130d_ItemNo"/>
  <p:tag name="EE4P_AGENDAWIZARD_CONTENT" val="/2"/>
  <p:tag name="EE4P_AGENDAWIZARD_PROPERTIES" val="40.49992/171.7547/31.50472/31.50472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PageNo"/>
  <p:tag name="EE4P_AGENDAWIZARD_PROPERTIES" val="904.8554/135.25/8.45685/31.50472"/>
  <p:tag name="EE4P_AGENDAWIZARD_CONTENT" val="/11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Topic"/>
  <p:tag name="EE4P_AGENDAWIZARD_CONTENT" val="/Introduction"/>
  <p:tag name="EE4P_AGENDAWIZARD_PROPERTIES" val="77.00465/135.25/145.5325/31.50472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153a492-dcd4-45be-b8ba-2d318043d54b_ItemNo"/>
  <p:tag name="EE4P_AGENDAWIZARD_CONTENT" val="/1"/>
  <p:tag name="EE4P_AGENDAWIZARD_PROPERTIES" val="40.49992/135.25/31.50472/31.5047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7f756fa-0a0d-4faf-86b4-61abd619b9a9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185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&amp; Future Directions"/>
  <p:tag name="EE4P_AGENDAWIZARD_PROPERTIES" val="77.00465/390.7831/233.3821/31.5047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49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33.3821/31.5048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2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33.3821/31.5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95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33.3821/31.5047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55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33.3821/31.5047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Elemen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2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33.3821/31.5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9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33.3821/31.5047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5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33.3821/31.5047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4ce8e2c-6fa6-4a85-8197-f9966fba177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706621f-8ff1-4d28-95ae-e4f190ffbbcb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PageNo"/>
  <p:tag name="EE4P_AGENDAWIZARD_PROPERTIES" val="904.8554/244.7642/8.45685/31.50472"/>
  <p:tag name="EE4P_AGENDAWIZARD_CONTENT" val="/5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Topic"/>
  <p:tag name="EE4P_AGENDAWIZARD_CONTENT" val="/Automated Simulation Scene Construction"/>
  <p:tag name="EE4P_AGENDAWIZARD_PROPERTIES" val="77.00465/244.7642/317.1927/31.5047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ItemNo"/>
  <p:tag name="EE4P_AGENDAWIZARD_CONTENT" val="/4"/>
  <p:tag name="EE4P_AGENDAWIZARD_PROPERTIES" val="40.49992/244.7642/31.50472/31.5047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PageNo"/>
  <p:tag name="EE4P_AGENDAWIZARD_PROPERTIES" val="904.8554/208.2594/8.45685/31.50472"/>
  <p:tag name="EE4P_AGENDAWIZARD_CONTENT" val="/4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Topic"/>
  <p:tag name="EE4P_AGENDAWIZARD_CONTENT" val="/Real-Scene Based Simulators"/>
  <p:tag name="EE4P_AGENDAWIZARD_PROPERTIES" val="77.00465/208.2594/317.1927/31.50472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ItemNo"/>
  <p:tag name="EE4P_AGENDAWIZARD_CONTENT" val="/3"/>
  <p:tag name="EE4P_AGENDAWIZARD_PROPERTIES" val="40.49992/208.2594/31.50472/31.50472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PageNo"/>
  <p:tag name="EE4P_AGENDAWIZARD_PROPERTIES" val="904.8554/171.7547/8.45685/31.50472"/>
  <p:tag name="EE4P_AGENDAWIZARD_CONTENT" val="/29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Topic"/>
  <p:tag name="EE4P_AGENDAWIZARD_CONTENT" val="/General Simulator"/>
  <p:tag name="EE4P_AGENDAWIZARD_PROPERTIES" val="77.00465/171.7547/317.1927/31.50472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ItemNo"/>
  <p:tag name="EE4P_AGENDAWIZARD_CONTENT" val="/2"/>
  <p:tag name="EE4P_AGENDAWIZARD_PROPERTIES" val="40.49992/171.7547/31.50472/31.5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6084de4-10f5-4c05-946e-d9524c7a623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Elemen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PageNo"/>
  <p:tag name="EE4P_AGENDAWIZARD_PROPERTIES" val="904.8554/135.25/8.45685/31.50472"/>
  <p:tag name="EE4P_AGENDAWIZARD_CONTENT" val="/27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Topic"/>
  <p:tag name="EE4P_AGENDAWIZARD_CONTENT" val="/Introduction"/>
  <p:tag name="EE4P_AGENDAWIZARD_PROPERTIES" val="77.00465/135.25/317.1927/31.50472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ItemNo"/>
  <p:tag name="EE4P_AGENDAWIZARD_CONTENT" val="/1"/>
  <p:tag name="EE4P_AGENDAWIZARD_PROPERTIES" val="40.49992/135.25/31.50472/31.50472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cd0b53-8ee5-4c82-a4ed-e77ce0044618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PageNo"/>
  <p:tag name="EE4P_AGENDAWIZARD_PROPERTIES" val="904.8554/244.7642/8.45685/31.50472"/>
  <p:tag name="EE4P_AGENDAWIZARD_CONTENT" val="/5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Topic"/>
  <p:tag name="EE4P_AGENDAWIZARD_CONTENT" val="/Automated Simulation Scene Construction"/>
  <p:tag name="EE4P_AGENDAWIZARD_PROPERTIES" val="77.00465/244.7642/317.1927/31.50472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ItemNo"/>
  <p:tag name="EE4P_AGENDAWIZARD_CONTENT" val="/4"/>
  <p:tag name="EE4P_AGENDAWIZARD_PROPERTIES" val="40.49992/244.7642/31.50472/31.5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18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PageNo"/>
  <p:tag name="EE4P_AGENDAWIZARD_PROPERTIES" val="904.8554/208.2594/8.45685/31.50472"/>
  <p:tag name="EE4P_AGENDAWIZARD_CONTENT" val="/4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Topic"/>
  <p:tag name="EE4P_AGENDAWIZARD_CONTENT" val="/Real-Scene Based Simulators"/>
  <p:tag name="EE4P_AGENDAWIZARD_PROPERTIES" val="77.00465/208.2594/317.1927/31.5047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ItemNo"/>
  <p:tag name="EE4P_AGENDAWIZARD_CONTENT" val="/3"/>
  <p:tag name="EE4P_AGENDAWIZARD_PROPERTIES" val="40.49992/208.2594/31.50472/31.50472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Element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PageNo"/>
  <p:tag name="EE4P_AGENDAWIZARD_PROPERTIES" val="904.8554/171.7547/8.45685/31.50472"/>
  <p:tag name="EE4P_AGENDAWIZARD_CONTENT" val="/29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Topic"/>
  <p:tag name="EE4P_AGENDAWIZARD_CONTENT" val="/General Simulator"/>
  <p:tag name="EE4P_AGENDAWIZARD_PROPERTIES" val="77.00465/171.7547/317.1927/31.50472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ItemNo"/>
  <p:tag name="EE4P_AGENDAWIZARD_CONTENT" val="/2"/>
  <p:tag name="EE4P_AGENDAWIZARD_PROPERTIES" val="40.49992/171.7547/31.50472/31.50472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PageNo"/>
  <p:tag name="EE4P_AGENDAWIZARD_PROPERTIES" val="904.8554/135.25/8.45685/31.50472"/>
  <p:tag name="EE4P_AGENDAWIZARD_CONTENT" val="/27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Topic"/>
  <p:tag name="EE4P_AGENDAWIZARD_CONTENT" val="/Introduction"/>
  <p:tag name="EE4P_AGENDAWIZARD_PROPERTIES" val="77.00465/135.25/317.1927/31.50472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ItemNo"/>
  <p:tag name="EE4P_AGENDAWIZARD_CONTENT" val="/1"/>
  <p:tag name="EE4P_AGENDAWIZARD_PROPERTIES" val="40.49992/135.25/31.50472/31.5047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&amp; Future Directions"/>
  <p:tag name="EE4P_AGENDAWIZARD_PROPERTIES" val="77.00465/390.7831/233.3821/31.50472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545c868-7312-400b-8a54-f255c4669ba4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PageNo"/>
  <p:tag name="EE4P_AGENDAWIZARD_PROPERTIES" val="904.8554/244.7642/8.45685/31.50472"/>
  <p:tag name="EE4P_AGENDAWIZARD_CONTENT" val="/50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Topic"/>
  <p:tag name="EE4P_AGENDAWIZARD_CONTENT" val="/Automated Simulation Scene Construction"/>
  <p:tag name="EE4P_AGENDAWIZARD_PROPERTIES" val="77.00465/244.7642/317.1927/31.50472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ItemNo"/>
  <p:tag name="EE4P_AGENDAWIZARD_CONTENT" val="/4"/>
  <p:tag name="EE4P_AGENDAWIZARD_PROPERTIES" val="40.49992/244.7642/31.50472/31.50472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Elemen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PageNo"/>
  <p:tag name="EE4P_AGENDAWIZARD_PROPERTIES" val="904.8554/208.2594/8.45685/31.50472"/>
  <p:tag name="EE4P_AGENDAWIZARD_CONTENT" val="/4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Topic"/>
  <p:tag name="EE4P_AGENDAWIZARD_CONTENT" val="/Real-Scene Based Simulators"/>
  <p:tag name="EE4P_AGENDAWIZARD_PROPERTIES" val="77.00465/208.2594/317.1927/31.5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49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ItemNo"/>
  <p:tag name="EE4P_AGENDAWIZARD_CONTENT" val="/3"/>
  <p:tag name="EE4P_AGENDAWIZARD_PROPERTIES" val="40.49992/208.2594/31.50472/31.50472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PageNo"/>
  <p:tag name="EE4P_AGENDAWIZARD_PROPERTIES" val="904.8554/171.7547/8.45685/31.50472"/>
  <p:tag name="EE4P_AGENDAWIZARD_CONTENT" val="/29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Topic"/>
  <p:tag name="EE4P_AGENDAWIZARD_CONTENT" val="/General Simulator"/>
  <p:tag name="EE4P_AGENDAWIZARD_PROPERTIES" val="77.00465/171.7547/317.1927/31.50472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ItemNo"/>
  <p:tag name="EE4P_AGENDAWIZARD_CONTENT" val="/2"/>
  <p:tag name="EE4P_AGENDAWIZARD_PROPERTIES" val="40.49992/171.7547/31.50472/31.50472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PageNo"/>
  <p:tag name="EE4P_AGENDAWIZARD_PROPERTIES" val="904.8554/135.25/8.45685/31.50472"/>
  <p:tag name="EE4P_AGENDAWIZARD_CONTENT" val="/27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Topic"/>
  <p:tag name="EE4P_AGENDAWIZARD_CONTENT" val="/Introduction"/>
  <p:tag name="EE4P_AGENDAWIZARD_PROPERTIES" val="77.00465/135.25/317.1927/31.50472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ItemNo"/>
  <p:tag name="EE4P_AGENDAWIZARD_CONTENT" val="/1"/>
  <p:tag name="EE4P_AGENDAWIZARD_PROPERTIES" val="40.49992/135.25/31.50472/31.5047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33.3821/31.5048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a02615a-27a4-4867-b719-805e771519b8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Elemen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PageNo"/>
  <p:tag name="EE4P_AGENDAWIZARD_PROPERTIES" val="904.8554/244.7642/8.45685/31.50472"/>
  <p:tag name="EE4P_AGENDAWIZARD_CONTENT" val="/5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Topic"/>
  <p:tag name="EE4P_AGENDAWIZARD_CONTENT" val="/Automated Simulation Scene Construction"/>
  <p:tag name="EE4P_AGENDAWIZARD_PROPERTIES" val="77.00465/244.7642/317.1927/31.50472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02615a-27a4-4867-b719-805e771519b8_ItemNo"/>
  <p:tag name="EE4P_AGENDAWIZARD_CONTENT" val="/4"/>
  <p:tag name="EE4P_AGENDAWIZARD_PROPERTIES" val="40.49992/244.7642/31.50472/31.50472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PageNo"/>
  <p:tag name="EE4P_AGENDAWIZARD_PROPERTIES" val="904.8554/208.2594/8.45685/31.50472"/>
  <p:tag name="EE4P_AGENDAWIZARD_CONTENT" val="/4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Topic"/>
  <p:tag name="EE4P_AGENDAWIZARD_CONTENT" val="/Real-Scene Based Simulators"/>
  <p:tag name="EE4P_AGENDAWIZARD_PROPERTIES" val="77.00465/208.2594/317.1927/31.5047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545c868-7312-400b-8a54-f255c4669ba4_ItemNo"/>
  <p:tag name="EE4P_AGENDAWIZARD_CONTENT" val="/3"/>
  <p:tag name="EE4P_AGENDAWIZARD_PROPERTIES" val="40.49992/208.2594/31.50472/31.50472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PageNo"/>
  <p:tag name="EE4P_AGENDAWIZARD_PROPERTIES" val="904.8554/171.7547/8.45685/31.50472"/>
  <p:tag name="EE4P_AGENDAWIZARD_CONTENT" val="/29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Topic"/>
  <p:tag name="EE4P_AGENDAWIZARD_CONTENT" val="/General Simulator"/>
  <p:tag name="EE4P_AGENDAWIZARD_PROPERTIES" val="77.00465/171.7547/317.1927/31.50472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ecd0b53-8ee5-4c82-a4ed-e77ce0044618_ItemNo"/>
  <p:tag name="EE4P_AGENDAWIZARD_CONTENT" val="/2"/>
  <p:tag name="EE4P_AGENDAWIZARD_PROPERTIES" val="40.49992/171.7547/31.50472/31.5047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PageNo"/>
  <p:tag name="EE4P_AGENDAWIZARD_PROPERTIES" val="904.8554/135.25/8.45685/31.50472"/>
  <p:tag name="EE4P_AGENDAWIZARD_CONTENT" val="/27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Topic"/>
  <p:tag name="EE4P_AGENDAWIZARD_CONTENT" val="/Introduction"/>
  <p:tag name="EE4P_AGENDAWIZARD_PROPERTIES" val="77.00465/135.25/317.1927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25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06621f-8ff1-4d28-95ae-e4f190ffbbcb_ItemNo"/>
  <p:tag name="EE4P_AGENDAWIZARD_CONTENT" val="/1"/>
  <p:tag name="EE4P_AGENDAWIZARD_PROPERTIES" val="40.49992/135.25/31.50472/31.50472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4c0b988-9e18-455e-b196-9685cd0b85bd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185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&amp; Future Directions"/>
  <p:tag name="EE4P_AGENDAWIZARD_PROPERTIES" val="77.00465/390.7831/233.3821/31.50472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33.3821/31.50472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49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33.3821/31.5048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2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33.3821/31.50472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95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33.3821/31.5047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Elemen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18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55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33.3821/31.50472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25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33.3821/31.50472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9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33.3821/31.5047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95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33.3821/31.50472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bb23422-855f-4f98-be1e-de522a382985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281.2689/8.45685/31.50472"/>
  <p:tag name="EE4P_AGENDAWIZARD_CONTENT" val="/85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281.2689/383.6117/31.50472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281.2689/31.50472/31.50472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244.7642/8.45685/31.50472"/>
  <p:tag name="EE4P_AGENDAWIZARD_CONTENT" val="/77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244.7642/383.6117/31.50472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244.7642/31.50472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33.3821/31.5047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Element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b523f80-95ea-41a4-b503-8824842d720b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427.2879/8.45685/31.50472"/>
  <p:tag name="EE4P_AGENDAWIZARD_CONTENT" val="/8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427.2879/383.6117/31.50472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427.2879/31.50472/31.50472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390.7831/8.45685/31.50472"/>
  <p:tag name="EE4P_AGENDAWIZARD_CONTENT" val="/77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390.7831/383.6117/31.5047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390.7831/31.50472/31.50472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354.2784/8.45685/31.5048"/>
  <p:tag name="EE4P_AGENDAWIZARD_CONTENT" val="/69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354.2784/383.6117/31.5048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55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354.2784/31.50472/31.5048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PageNo"/>
  <p:tag name="EE4P_AGENDAWIZARD_PROPERTIES" val="904.8554/317.7736/8.45685/31.50472"/>
  <p:tag name="EE4P_AGENDAWIZARD_CONTENT" val="/67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Topic"/>
  <p:tag name="EE4P_AGENDAWIZARD_CONTENT" val="/Active Exploration"/>
  <p:tag name="EE4P_AGENDAWIZARD_PROPERTIES" val="113.5094/317.7736/347.1069/31.50472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ItemNo"/>
  <p:tag name="EE4P_AGENDAWIZARD_CONTENT" val="/2.4"/>
  <p:tag name="EE4P_AGENDAWIZARD_PROPERTIES" val="77.00465/317.7736/31.50472/31.50472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PageNo"/>
  <p:tag name="EE4P_AGENDAWIZARD_PROPERTIES" val="904.8554/281.2689/8.45685/31.50472"/>
  <p:tag name="EE4P_AGENDAWIZARD_CONTENT" val="/65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Topic"/>
  <p:tag name="EE4P_AGENDAWIZARD_CONTENT" val="/3D Scene Understanding"/>
  <p:tag name="EE4P_AGENDAWIZARD_PROPERTIES" val="113.5094/281.2689/347.1069/31.50472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ItemNo"/>
  <p:tag name="EE4P_AGENDAWIZARD_CONTENT" val="/2.3"/>
  <p:tag name="EE4P_AGENDAWIZARD_PROPERTIES" val="77.00465/281.2689/31.50472/31.50472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PageNo"/>
  <p:tag name="EE4P_AGENDAWIZARD_PROPERTIES" val="904.8554/244.7642/8.45685/31.50472"/>
  <p:tag name="EE4P_AGENDAWIZARD_CONTENT" val="/63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Topic"/>
  <p:tag name="EE4P_AGENDAWIZARD_CONTENT" val="/Visual Simultaneous Localization and Mapping"/>
  <p:tag name="EE4P_AGENDAWIZARD_PROPERTIES" val="113.5094/244.7642/347.1069/31.50472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ItemNo"/>
  <p:tag name="EE4P_AGENDAWIZARD_CONTENT" val="/2.2"/>
  <p:tag name="EE4P_AGENDAWIZARD_PROPERTIES" val="77.00465/244.7642/31.50472/31.5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33.3821/31.50472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PageNo"/>
  <p:tag name="EE4P_AGENDAWIZARD_PROPERTIES" val="904.8554/208.2594/8.45685/31.50472"/>
  <p:tag name="EE4P_AGENDAWIZARD_CONTENT" val="/61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Topic"/>
  <p:tag name="EE4P_AGENDAWIZARD_CONTENT" val="/Introduction"/>
  <p:tag name="EE4P_AGENDAWIZARD_PROPERTIES" val="113.5094/208.2594/347.1069/31.50472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ItemNo"/>
  <p:tag name="EE4P_AGENDAWIZARD_CONTENT" val="/2.1"/>
  <p:tag name="EE4P_AGENDAWIZARD_PROPERTIES" val="77.00465/208.2594/31.50472/31.50472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Element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27908af-48d7-4e53-a010-497a63fbeb04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427.2879/8.45685/31.50472"/>
  <p:tag name="EE4P_AGENDAWIZARD_CONTENT" val="/85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427.2879/383.6117/31.50472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427.2879/31.50472/31.50472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390.7831/8.45685/31.50472"/>
  <p:tag name="EE4P_AGENDAWIZARD_CONTENT" val="/77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390.7831/383.6117/31.50472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390.7831/31.50472/31.50472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354.2784/8.45685/31.5048"/>
  <p:tag name="EE4P_AGENDAWIZARD_CONTENT" val="/69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354.2784/383.6117/31.504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25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354.2784/31.50472/31.5048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PageNo"/>
  <p:tag name="EE4P_AGENDAWIZARD_PROPERTIES" val="904.8554/317.7736/8.45685/31.50472"/>
  <p:tag name="EE4P_AGENDAWIZARD_CONTENT" val="/67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Topic"/>
  <p:tag name="EE4P_AGENDAWIZARD_CONTENT" val="/Active Exploration"/>
  <p:tag name="EE4P_AGENDAWIZARD_PROPERTIES" val="113.5094/317.7736/347.1069/31.50472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ItemNo"/>
  <p:tag name="EE4P_AGENDAWIZARD_CONTENT" val="/2.4"/>
  <p:tag name="EE4P_AGENDAWIZARD_PROPERTIES" val="77.00465/317.7736/31.50472/31.50472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PageNo"/>
  <p:tag name="EE4P_AGENDAWIZARD_PROPERTIES" val="904.8554/281.2689/8.45685/31.50472"/>
  <p:tag name="EE4P_AGENDAWIZARD_CONTENT" val="/65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Topic"/>
  <p:tag name="EE4P_AGENDAWIZARD_CONTENT" val="/3D Scene Understanding"/>
  <p:tag name="EE4P_AGENDAWIZARD_PROPERTIES" val="113.5094/281.2689/347.1069/31.5047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ItemNo"/>
  <p:tag name="EE4P_AGENDAWIZARD_CONTENT" val="/2.3"/>
  <p:tag name="EE4P_AGENDAWIZARD_PROPERTIES" val="77.00465/281.2689/31.50472/31.50472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PageNo"/>
  <p:tag name="EE4P_AGENDAWIZARD_PROPERTIES" val="904.8554/244.7642/8.45685/31.50472"/>
  <p:tag name="EE4P_AGENDAWIZARD_CONTENT" val="/63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Topic"/>
  <p:tag name="EE4P_AGENDAWIZARD_CONTENT" val="/Visual Simultaneous Localization and Mapping"/>
  <p:tag name="EE4P_AGENDAWIZARD_PROPERTIES" val="113.5094/244.7642/347.1069/31.50472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ItemNo"/>
  <p:tag name="EE4P_AGENDAWIZARD_CONTENT" val="/2.2"/>
  <p:tag name="EE4P_AGENDAWIZARD_PROPERTIES" val="77.00465/244.7642/31.50472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33.3821/31.50472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Element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PageNo"/>
  <p:tag name="EE4P_AGENDAWIZARD_PROPERTIES" val="904.8554/208.2594/8.45685/31.50472"/>
  <p:tag name="EE4P_AGENDAWIZARD_CONTENT" val="/61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Topic"/>
  <p:tag name="EE4P_AGENDAWIZARD_CONTENT" val="/Introduction"/>
  <p:tag name="EE4P_AGENDAWIZARD_PROPERTIES" val="113.5094/208.2594/347.1069/31.50472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ItemNo"/>
  <p:tag name="EE4P_AGENDAWIZARD_CONTENT" val="/2.1"/>
  <p:tag name="EE4P_AGENDAWIZARD_PROPERTIES" val="77.00465/208.2594/31.50472/31.50472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850884c-3a40-4c66-9f13-5843f4a453f6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427.2879/8.45685/31.50472"/>
  <p:tag name="EE4P_AGENDAWIZARD_CONTENT" val="/85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427.2879/383.6117/31.50472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427.2879/31.50472/31.50472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390.7831/8.45685/31.50472"/>
  <p:tag name="EE4P_AGENDAWIZARD_CONTENT" val="/77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390.7831/383.6117/31.50472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390.7831/31.50472/31.50472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354.2784/8.45685/31.5048"/>
  <p:tag name="EE4P_AGENDAWIZARD_CONTENT" val="/69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354.2784/383.6117/31.504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&amp; Future Directions"/>
  <p:tag name="EE4P_AGENDAWIZARD_PROPERTIES" val="77.00465/390.7831/233.3821/31.5047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9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354.2784/31.50472/31.5048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PageNo"/>
  <p:tag name="EE4P_AGENDAWIZARD_PROPERTIES" val="904.8554/317.7736/8.45685/31.50472"/>
  <p:tag name="EE4P_AGENDAWIZARD_CONTENT" val="/67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Topic"/>
  <p:tag name="EE4P_AGENDAWIZARD_CONTENT" val="/Active Exploration"/>
  <p:tag name="EE4P_AGENDAWIZARD_PROPERTIES" val="113.5094/317.7736/347.1069/31.50472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ItemNo"/>
  <p:tag name="EE4P_AGENDAWIZARD_CONTENT" val="/2.4"/>
  <p:tag name="EE4P_AGENDAWIZARD_PROPERTIES" val="77.00465/317.7736/31.50472/31.50472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PageNo"/>
  <p:tag name="EE4P_AGENDAWIZARD_PROPERTIES" val="904.8554/281.2689/8.45685/31.50472"/>
  <p:tag name="EE4P_AGENDAWIZARD_CONTENT" val="/65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Topic"/>
  <p:tag name="EE4P_AGENDAWIZARD_CONTENT" val="/3D Scene Understanding"/>
  <p:tag name="EE4P_AGENDAWIZARD_PROPERTIES" val="113.5094/281.2689/347.1069/31.50472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ItemNo"/>
  <p:tag name="EE4P_AGENDAWIZARD_CONTENT" val="/2.3"/>
  <p:tag name="EE4P_AGENDAWIZARD_PROPERTIES" val="77.00465/281.2689/31.50472/31.50472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Element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PageNo"/>
  <p:tag name="EE4P_AGENDAWIZARD_PROPERTIES" val="904.8554/244.7642/8.45685/31.50472"/>
  <p:tag name="EE4P_AGENDAWIZARD_CONTENT" val="/63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Topic"/>
  <p:tag name="EE4P_AGENDAWIZARD_CONTENT" val="/Visual Simultaneous Localization and Mapping"/>
  <p:tag name="EE4P_AGENDAWIZARD_PROPERTIES" val="113.5094/244.7642/347.1069/31.5047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33.3821/31.50472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ItemNo"/>
  <p:tag name="EE4P_AGENDAWIZARD_CONTENT" val="/2.2"/>
  <p:tag name="EE4P_AGENDAWIZARD_PROPERTIES" val="77.00465/244.7642/31.50472/31.50472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PageNo"/>
  <p:tag name="EE4P_AGENDAWIZARD_PROPERTIES" val="904.8554/208.2594/8.45685/31.50472"/>
  <p:tag name="EE4P_AGENDAWIZARD_CONTENT" val="/61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Topic"/>
  <p:tag name="EE4P_AGENDAWIZARD_CONTENT" val="/Introduction"/>
  <p:tag name="EE4P_AGENDAWIZARD_PROPERTIES" val="113.5094/208.2594/347.1069/31.50472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ItemNo"/>
  <p:tag name="EE4P_AGENDAWIZARD_CONTENT" val="/2.1"/>
  <p:tag name="EE4P_AGENDAWIZARD_PROPERTIES" val="77.00465/208.2594/31.50472/31.50472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96134e7-3b1d-444c-bab4-613db596f1b8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427.2879/8.45685/31.50472"/>
  <p:tag name="EE4P_AGENDAWIZARD_CONTENT" val="/85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427.2879/383.6117/31.50472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427.2879/31.50472/31.50472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390.7831/8.45685/31.50472"/>
  <p:tag name="EE4P_AGENDAWIZARD_CONTENT" val="/77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390.7831/383.6117/31.50472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390.7831/31.50472/31.50472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354.2784/8.45685/31.5048"/>
  <p:tag name="EE4P_AGENDAWIZARD_CONTENT" val="/69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354.2784/383.6117/31.5048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Element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354.2784/31.50472/31.5048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PageNo"/>
  <p:tag name="EE4P_AGENDAWIZARD_PROPERTIES" val="904.8554/317.7736/8.45685/31.50472"/>
  <p:tag name="EE4P_AGENDAWIZARD_CONTENT" val="/67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Topic"/>
  <p:tag name="EE4P_AGENDAWIZARD_CONTENT" val="/Active Exploration"/>
  <p:tag name="EE4P_AGENDAWIZARD_PROPERTIES" val="113.5094/317.7736/347.1069/31.50472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ItemNo"/>
  <p:tag name="EE4P_AGENDAWIZARD_CONTENT" val="/2.4"/>
  <p:tag name="EE4P_AGENDAWIZARD_PROPERTIES" val="77.00465/317.7736/31.50472/31.50472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Element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PageNo"/>
  <p:tag name="EE4P_AGENDAWIZARD_PROPERTIES" val="904.8554/281.2689/8.45685/31.50472"/>
  <p:tag name="EE4P_AGENDAWIZARD_CONTENT" val="/65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Topic"/>
  <p:tag name="EE4P_AGENDAWIZARD_CONTENT" val="/3D Scene Understanding"/>
  <p:tag name="EE4P_AGENDAWIZARD_PROPERTIES" val="113.5094/281.2689/347.1069/31.50472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ItemNo"/>
  <p:tag name="EE4P_AGENDAWIZARD_CONTENT" val="/2.3"/>
  <p:tag name="EE4P_AGENDAWIZARD_PROPERTIES" val="77.00465/281.2689/31.50472/31.50472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PageNo"/>
  <p:tag name="EE4P_AGENDAWIZARD_PROPERTIES" val="904.8554/244.7642/8.45685/31.50472"/>
  <p:tag name="EE4P_AGENDAWIZARD_CONTENT" val="/63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Topic"/>
  <p:tag name="EE4P_AGENDAWIZARD_CONTENT" val="/Visual Simultaneous Localization and Mapping"/>
  <p:tag name="EE4P_AGENDAWIZARD_PROPERTIES" val="113.5094/244.7642/347.1069/31.504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5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ItemNo"/>
  <p:tag name="EE4P_AGENDAWIZARD_CONTENT" val="/2.2"/>
  <p:tag name="EE4P_AGENDAWIZARD_PROPERTIES" val="77.00465/244.7642/31.50472/31.50472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PageNo"/>
  <p:tag name="EE4P_AGENDAWIZARD_PROPERTIES" val="904.8554/208.2594/8.45685/31.50472"/>
  <p:tag name="EE4P_AGENDAWIZARD_CONTENT" val="/61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Topic"/>
  <p:tag name="EE4P_AGENDAWIZARD_CONTENT" val="/Introduction"/>
  <p:tag name="EE4P_AGENDAWIZARD_PROPERTIES" val="113.5094/208.2594/347.1069/31.50472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ItemNo"/>
  <p:tag name="EE4P_AGENDAWIZARD_CONTENT" val="/2.1"/>
  <p:tag name="EE4P_AGENDAWIZARD_PROPERTIES" val="77.00465/208.2594/31.50472/31.50472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33.3821/31.50472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b74f1bb-7de5-4621-a211-f4558973634b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427.2879/8.45685/31.50472"/>
  <p:tag name="EE4P_AGENDAWIZARD_CONTENT" val="/85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427.2879/383.6117/31.50472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427.2879/31.50472/31.50472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390.7831/8.45685/31.50472"/>
  <p:tag name="EE4P_AGENDAWIZARD_CONTENT" val="/77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390.7831/383.6117/31.50472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390.7831/31.50472/31.50472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354.2784/8.45685/31.5048"/>
  <p:tag name="EE4P_AGENDAWIZARD_CONTENT" val="/69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354.2784/383.6117/31.5048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354.2784/31.50472/31.5048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Element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PageNo"/>
  <p:tag name="EE4P_AGENDAWIZARD_PROPERTIES" val="904.8554/317.7736/8.45685/31.50472"/>
  <p:tag name="EE4P_AGENDAWIZARD_CONTENT" val="/67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Topic"/>
  <p:tag name="EE4P_AGENDAWIZARD_CONTENT" val="/Active Exploration"/>
  <p:tag name="EE4P_AGENDAWIZARD_PROPERTIES" val="113.5094/317.7736/347.1069/31.50472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b74f1bb-7de5-4621-a211-f4558973634b_ItemNo"/>
  <p:tag name="EE4P_AGENDAWIZARD_CONTENT" val="/2.4"/>
  <p:tag name="EE4P_AGENDAWIZARD_PROPERTIES" val="77.00465/317.7736/31.50472/31.50472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PageNo"/>
  <p:tag name="EE4P_AGENDAWIZARD_PROPERTIES" val="904.8554/281.2689/8.45685/31.50472"/>
  <p:tag name="EE4P_AGENDAWIZARD_CONTENT" val="/65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Topic"/>
  <p:tag name="EE4P_AGENDAWIZARD_CONTENT" val="/3D Scene Understanding"/>
  <p:tag name="EE4P_AGENDAWIZARD_PROPERTIES" val="113.5094/281.2689/347.1069/31.50472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96134e7-3b1d-444c-bab4-613db596f1b8_ItemNo"/>
  <p:tag name="EE4P_AGENDAWIZARD_CONTENT" val="/2.3"/>
  <p:tag name="EE4P_AGENDAWIZARD_PROPERTIES" val="77.00465/281.2689/31.50472/31.50472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PageNo"/>
  <p:tag name="EE4P_AGENDAWIZARD_PROPERTIES" val="904.8554/244.7642/8.45685/31.50472"/>
  <p:tag name="EE4P_AGENDAWIZARD_CONTENT" val="/63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Topic"/>
  <p:tag name="EE4P_AGENDAWIZARD_CONTENT" val="/Visual Simultaneous Localization and Mapping"/>
  <p:tag name="EE4P_AGENDAWIZARD_PROPERTIES" val="113.5094/244.7642/347.1069/31.5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850884c-3a40-4c66-9f13-5843f4a453f6_ItemNo"/>
  <p:tag name="EE4P_AGENDAWIZARD_CONTENT" val="/2.2"/>
  <p:tag name="EE4P_AGENDAWIZARD_PROPERTIES" val="77.00465/244.7642/31.50472/31.50472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PageNo"/>
  <p:tag name="EE4P_AGENDAWIZARD_PROPERTIES" val="904.8554/208.2594/8.45685/31.50472"/>
  <p:tag name="EE4P_AGENDAWIZARD_CONTENT" val="/61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Topic"/>
  <p:tag name="EE4P_AGENDAWIZARD_CONTENT" val="/Introduction"/>
  <p:tag name="EE4P_AGENDAWIZARD_PROPERTIES" val="113.5094/208.2594/347.1069/31.50472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7908af-48d7-4e53-a010-497a63fbeb04_ItemNo"/>
  <p:tag name="EE4P_AGENDAWIZARD_CONTENT" val="/2.1"/>
  <p:tag name="EE4P_AGENDAWIZARD_PROPERTIES" val="77.00465/208.2594/31.50472/31.50472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51fe5d2-7cea-4b0f-9834-a51034efc919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390.7831/8.45685/31.50472"/>
  <p:tag name="EE4P_AGENDAWIZARD_CONTENT" val="/85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390.7831/383.6117/31.50472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390.7831/31.50472/31.50472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354.2784/8.45685/31.5048"/>
  <p:tag name="EE4P_AGENDAWIZARD_CONTENT" val="/77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354.2784/383.6117/31.5048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354.2784/31.50472/31.5048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PageNo"/>
  <p:tag name="EE4P_AGENDAWIZARD_PROPERTIES" val="904.8554/317.7736/8.45685/31.50472"/>
  <p:tag name="EE4P_AGENDAWIZARD_CONTENT" val="/75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Topic"/>
  <p:tag name="EE4P_AGENDAWIZARD_CONTENT" val="/One Stage"/>
  <p:tag name="EE4P_AGENDAWIZARD_PROPERTIES" val="113.5094/317.7736/347.1069/31.5047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ItemNo"/>
  <p:tag name="EE4P_AGENDAWIZARD_CONTENT" val="/3.3"/>
  <p:tag name="EE4P_AGENDAWIZARD_PROPERTIES" val="77.00465/317.7736/31.50472/31.50472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PageNo"/>
  <p:tag name="EE4P_AGENDAWIZARD_PROPERTIES" val="904.8554/281.2689/8.45685/31.50472"/>
  <p:tag name="EE4P_AGENDAWIZARD_CONTENT" val="/73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Topic"/>
  <p:tag name="EE4P_AGENDAWIZARD_CONTENT" val="/Two Stage"/>
  <p:tag name="EE4P_AGENDAWIZARD_PROPERTIES" val="113.5094/281.2689/347.1069/31.50472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ItemNo"/>
  <p:tag name="EE4P_AGENDAWIZARD_CONTENT" val="/3.2"/>
  <p:tag name="EE4P_AGENDAWIZARD_PROPERTIES" val="77.00465/281.2689/31.50472/31.50472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PageNo"/>
  <p:tag name="EE4P_AGENDAWIZARD_PROPERTIES" val="904.8554/244.7642/8.45685/31.50472"/>
  <p:tag name="EE4P_AGENDAWIZARD_CONTENT" val="/7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Topic"/>
  <p:tag name="EE4P_AGENDAWIZARD_CONTENT" val="/Introduction"/>
  <p:tag name="EE4P_AGENDAWIZARD_PROPERTIES" val="113.5094/244.7642/347.1069/31.50472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ItemNo"/>
  <p:tag name="EE4P_AGENDAWIZARD_CONTENT" val="/3.1"/>
  <p:tag name="EE4P_AGENDAWIZARD_PROPERTIES" val="77.00465/244.7642/31.50472/31.50472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Element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2d82ac53-4287-4488-b28b-eb237bfba996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390.7831/8.45685/31.50472"/>
  <p:tag name="EE4P_AGENDAWIZARD_CONTENT" val="/8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990acd5-2cb4-45f6-82ce-d8e583c6b0d3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390.7831/383.6117/31.50472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390.7831/31.50472/31.50472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354.2784/8.45685/31.5048"/>
  <p:tag name="EE4P_AGENDAWIZARD_CONTENT" val="/77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354.2784/383.6117/31.5048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354.2784/31.50472/31.5048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PageNo"/>
  <p:tag name="EE4P_AGENDAWIZARD_PROPERTIES" val="904.8554/317.7736/8.45685/31.50472"/>
  <p:tag name="EE4P_AGENDAWIZARD_CONTENT" val="/75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Topic"/>
  <p:tag name="EE4P_AGENDAWIZARD_CONTENT" val="/One Stage"/>
  <p:tag name="EE4P_AGENDAWIZARD_PROPERTIES" val="113.5094/317.7736/347.1069/31.50472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ItemNo"/>
  <p:tag name="EE4P_AGENDAWIZARD_CONTENT" val="/3.3"/>
  <p:tag name="EE4P_AGENDAWIZARD_PROPERTIES" val="77.00465/317.7736/31.50472/31.50472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PageNo"/>
  <p:tag name="EE4P_AGENDAWIZARD_PROPERTIES" val="904.8554/281.2689/8.45685/31.50472"/>
  <p:tag name="EE4P_AGENDAWIZARD_CONTENT" val="/73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Topic"/>
  <p:tag name="EE4P_AGENDAWIZARD_CONTENT" val="/Two Stage"/>
  <p:tag name="EE4P_AGENDAWIZARD_PROPERTIES" val="113.5094/281.2689/347.1069/31.5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185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ItemNo"/>
  <p:tag name="EE4P_AGENDAWIZARD_CONTENT" val="/3.2"/>
  <p:tag name="EE4P_AGENDAWIZARD_PROPERTIES" val="77.00465/281.2689/31.50472/31.50472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Element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PageNo"/>
  <p:tag name="EE4P_AGENDAWIZARD_PROPERTIES" val="904.8554/244.7642/8.45685/31.50472"/>
  <p:tag name="EE4P_AGENDAWIZARD_CONTENT" val="/71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Topic"/>
  <p:tag name="EE4P_AGENDAWIZARD_CONTENT" val="/Introduction"/>
  <p:tag name="EE4P_AGENDAWIZARD_PROPERTIES" val="113.5094/244.7642/347.1069/31.50472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ItemNo"/>
  <p:tag name="EE4P_AGENDAWIZARD_CONTENT" val="/3.1"/>
  <p:tag name="EE4P_AGENDAWIZARD_PROPERTIES" val="77.00465/244.7642/31.50472/31.50472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&amp; Future Directions"/>
  <p:tag name="EE4P_AGENDAWIZARD_PROPERTIES" val="77.00465/390.7831/233.3821/31.50472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0c9dbde-0ac6-4a81-9933-5ee65dd1bb4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390.7831/8.45685/31.50472"/>
  <p:tag name="EE4P_AGENDAWIZARD_CONTENT" val="/85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390.7831/383.6117/31.50472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390.7831/31.50472/31.50472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354.2784/8.45685/31.5048"/>
  <p:tag name="EE4P_AGENDAWIZARD_CONTENT" val="/7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354.2784/383.6117/31.5048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354.2784/31.50472/31.5048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PageNo"/>
  <p:tag name="EE4P_AGENDAWIZARD_PROPERTIES" val="904.8554/317.7736/8.45685/31.50472"/>
  <p:tag name="EE4P_AGENDAWIZARD_CONTENT" val="/75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Topic"/>
  <p:tag name="EE4P_AGENDAWIZARD_CONTENT" val="/One Stage"/>
  <p:tag name="EE4P_AGENDAWIZARD_PROPERTIES" val="113.5094/317.7736/347.1069/31.50472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ItemNo"/>
  <p:tag name="EE4P_AGENDAWIZARD_CONTENT" val="/3.3"/>
  <p:tag name="EE4P_AGENDAWIZARD_PROPERTIES" val="77.00465/317.7736/31.50472/31.50472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Element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PageNo"/>
  <p:tag name="EE4P_AGENDAWIZARD_PROPERTIES" val="904.8554/281.2689/8.45685/31.50472"/>
  <p:tag name="EE4P_AGENDAWIZARD_CONTENT" val="/73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Topic"/>
  <p:tag name="EE4P_AGENDAWIZARD_CONTENT" val="/Two Stage"/>
  <p:tag name="EE4P_AGENDAWIZARD_PROPERTIES" val="113.5094/281.2689/347.1069/31.50472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ItemNo"/>
  <p:tag name="EE4P_AGENDAWIZARD_CONTENT" val="/3.2"/>
  <p:tag name="EE4P_AGENDAWIZARD_PROPERTIES" val="77.00465/281.2689/31.50472/31.50472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PageNo"/>
  <p:tag name="EE4P_AGENDAWIZARD_PROPERTIES" val="904.8554/244.7642/8.45685/31.50472"/>
  <p:tag name="EE4P_AGENDAWIZARD_CONTENT" val="/7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49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Topic"/>
  <p:tag name="EE4P_AGENDAWIZARD_CONTENT" val="/Introduction"/>
  <p:tag name="EE4P_AGENDAWIZARD_PROPERTIES" val="113.5094/244.7642/347.1069/31.50472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ItemNo"/>
  <p:tag name="EE4P_AGENDAWIZARD_CONTENT" val="/3.1"/>
  <p:tag name="EE4P_AGENDAWIZARD_PROPERTIES" val="77.00465/244.7642/31.50472/31.50472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33.3821/31.5048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022e9d9-6589-4a5a-9aa1-84836a3a2822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390.7831/8.45685/31.50472"/>
  <p:tag name="EE4P_AGENDAWIZARD_CONTENT" val="/85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390.7831/383.6117/31.50472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390.7831/31.50472/31.50472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354.2784/8.45685/31.5048"/>
  <p:tag name="EE4P_AGENDAWIZARD_CONTENT" val="/77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354.2784/383.6117/31.5048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354.2784/31.50472/31.5048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Elemen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PageNo"/>
  <p:tag name="EE4P_AGENDAWIZARD_PROPERTIES" val="904.8554/317.7736/8.45685/31.50472"/>
  <p:tag name="EE4P_AGENDAWIZARD_CONTENT" val="/75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Topic"/>
  <p:tag name="EE4P_AGENDAWIZARD_CONTENT" val="/One Stage"/>
  <p:tag name="EE4P_AGENDAWIZARD_PROPERTIES" val="113.5094/317.7736/347.1069/31.50472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022e9d9-6589-4a5a-9aa1-84836a3a2822_ItemNo"/>
  <p:tag name="EE4P_AGENDAWIZARD_CONTENT" val="/3.3"/>
  <p:tag name="EE4P_AGENDAWIZARD_PROPERTIES" val="77.00465/317.7736/31.50472/31.50472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PageNo"/>
  <p:tag name="EE4P_AGENDAWIZARD_PROPERTIES" val="904.8554/281.2689/8.45685/31.50472"/>
  <p:tag name="EE4P_AGENDAWIZARD_CONTENT" val="/73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Topic"/>
  <p:tag name="EE4P_AGENDAWIZARD_CONTENT" val="/Two Stage"/>
  <p:tag name="EE4P_AGENDAWIZARD_PROPERTIES" val="113.5094/281.2689/347.1069/31.50472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0c9dbde-0ac6-4a81-9933-5ee65dd1bb4a_ItemNo"/>
  <p:tag name="EE4P_AGENDAWIZARD_CONTENT" val="/3.2"/>
  <p:tag name="EE4P_AGENDAWIZARD_PROPERTIES" val="77.00465/281.2689/31.50472/31.50472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PageNo"/>
  <p:tag name="EE4P_AGENDAWIZARD_PROPERTIES" val="904.8554/244.7642/8.45685/31.50472"/>
  <p:tag name="EE4P_AGENDAWIZARD_CONTENT" val="/71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Topic"/>
  <p:tag name="EE4P_AGENDAWIZARD_CONTENT" val="/Introduction"/>
  <p:tag name="EE4P_AGENDAWIZARD_PROPERTIES" val="113.5094/244.7642/347.1069/31.50472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d82ac53-4287-4488-b28b-eb237bfba996_ItemNo"/>
  <p:tag name="EE4P_AGENDAWIZARD_CONTENT" val="/3.1"/>
  <p:tag name="EE4P_AGENDAWIZARD_PROPERTIES" val="77.00465/244.7642/31.50472/31.50472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25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4a5854f-9f61-4cc7-9857-2c3066370348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33.3821/31.50472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390.7831/8.45685/31.50472"/>
  <p:tag name="EE4P_AGENDAWIZARD_CONTENT" val="/85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390.7831/383.6117/31.50472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390.7831/31.50472/31.50472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PageNo"/>
  <p:tag name="EE4P_AGENDAWIZARD_PROPERTIES" val="904.8554/354.2784/8.45685/31.5048"/>
  <p:tag name="EE4P_AGENDAWIZARD_CONTENT" val="/83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Topic"/>
  <p:tag name="EE4P_AGENDAWIZARD_CONTENT" val="/Methods"/>
  <p:tag name="EE4P_AGENDAWIZARD_PROPERTIES" val="113.5094/354.2784/347.1069/31.5048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ItemNo"/>
  <p:tag name="EE4P_AGENDAWIZARD_CONTENT" val="/4.3"/>
  <p:tag name="EE4P_AGENDAWIZARD_PROPERTIES" val="77.00465/354.2784/31.50472/31.5048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PageNo"/>
  <p:tag name="EE4P_AGENDAWIZARD_PROPERTIES" val="904.8554/317.7736/8.45685/31.50472"/>
  <p:tag name="EE4P_AGENDAWIZARD_CONTENT" val="/8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Topic"/>
  <p:tag name="EE4P_AGENDAWIZARD_CONTENT" val="/DataSets"/>
  <p:tag name="EE4P_AGENDAWIZARD_PROPERTIES" val="113.5094/317.7736/347.1069/31.50472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ItemNo"/>
  <p:tag name="EE4P_AGENDAWIZARD_CONTENT" val="/4.2"/>
  <p:tag name="EE4P_AGENDAWIZARD_PROPERTIES" val="77.00465/317.7736/31.50472/31.50472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PageNo"/>
  <p:tag name="EE4P_AGENDAWIZARD_PROPERTIES" val="904.8554/281.2689/8.45685/31.50472"/>
  <p:tag name="EE4P_AGENDAWIZARD_CONTENT" val="/7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49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Topic"/>
  <p:tag name="EE4P_AGENDAWIZARD_CONTENT" val="/Introduction"/>
  <p:tag name="EE4P_AGENDAWIZARD_PROPERTIES" val="113.5094/281.2689/347.1069/31.50472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ItemNo"/>
  <p:tag name="EE4P_AGENDAWIZARD_CONTENT" val="/4.1"/>
  <p:tag name="EE4P_AGENDAWIZARD_PROPERTIES" val="77.00465/281.2689/31.50472/31.50472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Element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244.7642/8.45685/31.50472"/>
  <p:tag name="EE4P_AGENDAWIZARD_CONTENT" val="/77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244.7642/383.6117/31.50472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244.7642/31.50472/31.50472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95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de8a299-dfc1-4c4b-a9df-3cc9d095c4f0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390.7831/8.45685/31.50472"/>
  <p:tag name="EE4P_AGENDAWIZARD_CONTENT" val="/85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390.7831/383.6117/31.50472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390.7831/31.50472/31.5047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33.3821/31.50472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PageNo"/>
  <p:tag name="EE4P_AGENDAWIZARD_PROPERTIES" val="904.8554/354.2784/8.45685/31.5048"/>
  <p:tag name="EE4P_AGENDAWIZARD_CONTENT" val="/83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Topic"/>
  <p:tag name="EE4P_AGENDAWIZARD_CONTENT" val="/Methods"/>
  <p:tag name="EE4P_AGENDAWIZARD_PROPERTIES" val="113.5094/354.2784/347.1069/31.5048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ItemNo"/>
  <p:tag name="EE4P_AGENDAWIZARD_CONTENT" val="/4.3"/>
  <p:tag name="EE4P_AGENDAWIZARD_PROPERTIES" val="77.00465/354.2784/31.50472/31.5048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PageNo"/>
  <p:tag name="EE4P_AGENDAWIZARD_PROPERTIES" val="904.8554/317.7736/8.45685/31.50472"/>
  <p:tag name="EE4P_AGENDAWIZARD_CONTENT" val="/81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Topic"/>
  <p:tag name="EE4P_AGENDAWIZARD_CONTENT" val="/DataSets"/>
  <p:tag name="EE4P_AGENDAWIZARD_PROPERTIES" val="113.5094/317.7736/347.1069/31.50472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ItemNo"/>
  <p:tag name="EE4P_AGENDAWIZARD_CONTENT" val="/4.2"/>
  <p:tag name="EE4P_AGENDAWIZARD_PROPERTIES" val="77.00465/317.7736/31.50472/31.50472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Element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PageNo"/>
  <p:tag name="EE4P_AGENDAWIZARD_PROPERTIES" val="904.8554/281.2689/8.45685/31.50472"/>
  <p:tag name="EE4P_AGENDAWIZARD_CONTENT" val="/79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Topic"/>
  <p:tag name="EE4P_AGENDAWIZARD_CONTENT" val="/Introduction"/>
  <p:tag name="EE4P_AGENDAWIZARD_PROPERTIES" val="113.5094/281.2689/347.1069/31.50472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ItemNo"/>
  <p:tag name="EE4P_AGENDAWIZARD_CONTENT" val="/4.1"/>
  <p:tag name="EE4P_AGENDAWIZARD_PROPERTIES" val="77.00465/281.2689/31.50472/31.5047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244.7642/8.45685/31.50472"/>
  <p:tag name="EE4P_AGENDAWIZARD_CONTENT" val="/77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244.7642/383.6117/31.50472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244.7642/31.50472/31.50472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55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f6576a0-fde0-4b3f-b85d-ed052301378b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390.7831/8.45685/31.50472"/>
  <p:tag name="EE4P_AGENDAWIZARD_CONTENT" val="/85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390.7831/383.6117/31.50472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390.7831/31.50472/31.50472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PageNo"/>
  <p:tag name="EE4P_AGENDAWIZARD_PROPERTIES" val="904.8554/354.2784/8.45685/31.5048"/>
  <p:tag name="EE4P_AGENDAWIZARD_CONTENT" val="/83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Topic"/>
  <p:tag name="EE4P_AGENDAWIZARD_CONTENT" val="/Methods"/>
  <p:tag name="EE4P_AGENDAWIZARD_PROPERTIES" val="113.5094/354.2784/347.1069/31.5048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ItemNo"/>
  <p:tag name="EE4P_AGENDAWIZARD_CONTENT" val="/4.3"/>
  <p:tag name="EE4P_AGENDAWIZARD_PROPERTIES" val="77.00465/354.2784/31.50472/31.5048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33.3821/31.50472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Element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PageNo"/>
  <p:tag name="EE4P_AGENDAWIZARD_PROPERTIES" val="904.8554/317.7736/8.45685/31.50472"/>
  <p:tag name="EE4P_AGENDAWIZARD_CONTENT" val="/81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Topic"/>
  <p:tag name="EE4P_AGENDAWIZARD_CONTENT" val="/DataSets"/>
  <p:tag name="EE4P_AGENDAWIZARD_PROPERTIES" val="113.5094/317.7736/347.1069/31.50472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ItemNo"/>
  <p:tag name="EE4P_AGENDAWIZARD_CONTENT" val="/4.2"/>
  <p:tag name="EE4P_AGENDAWIZARD_PROPERTIES" val="77.00465/317.7736/31.50472/31.50472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PageNo"/>
  <p:tag name="EE4P_AGENDAWIZARD_PROPERTIES" val="904.8554/281.2689/8.45685/31.50472"/>
  <p:tag name="EE4P_AGENDAWIZARD_CONTENT" val="/79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Topic"/>
  <p:tag name="EE4P_AGENDAWIZARD_CONTENT" val="/Introduction"/>
  <p:tag name="EE4P_AGENDAWIZARD_PROPERTIES" val="113.5094/281.2689/347.1069/31.50472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ItemNo"/>
  <p:tag name="EE4P_AGENDAWIZARD_CONTENT" val="/4.1"/>
  <p:tag name="EE4P_AGENDAWIZARD_PROPERTIES" val="77.00465/281.2689/31.50472/31.50472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244.7642/8.45685/31.50472"/>
  <p:tag name="EE4P_AGENDAWIZARD_CONTENT" val="/77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244.7642/383.6117/31.50472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244.7642/31.50472/31.5047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25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bcab6b7-1a8a-4ac3-8cfa-0f26e545cc82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390.7831/8.45685/31.50472"/>
  <p:tag name="EE4P_AGENDAWIZARD_CONTENT" val="/85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390.7831/383.6117/31.50472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390.7831/31.50472/31.50472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Element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PageNo"/>
  <p:tag name="EE4P_AGENDAWIZARD_PROPERTIES" val="904.8554/354.2784/8.45685/31.5048"/>
  <p:tag name="EE4P_AGENDAWIZARD_CONTENT" val="/83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Topic"/>
  <p:tag name="EE4P_AGENDAWIZARD_CONTENT" val="/Methods"/>
  <p:tag name="EE4P_AGENDAWIZARD_PROPERTIES" val="113.5094/354.2784/347.1069/31.5048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cab6b7-1a8a-4ac3-8cfa-0f26e545cc82_ItemNo"/>
  <p:tag name="EE4P_AGENDAWIZARD_CONTENT" val="/4.3"/>
  <p:tag name="EE4P_AGENDAWIZARD_PROPERTIES" val="77.00465/354.2784/31.50472/31.5048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PageNo"/>
  <p:tag name="EE4P_AGENDAWIZARD_PROPERTIES" val="904.8554/317.7736/8.45685/31.50472"/>
  <p:tag name="EE4P_AGENDAWIZARD_CONTENT" val="/81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Topic"/>
  <p:tag name="EE4P_AGENDAWIZARD_CONTENT" val="/DataSets"/>
  <p:tag name="EE4P_AGENDAWIZARD_PROPERTIES" val="113.5094/317.7736/347.1069/31.5047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33.3821/31.50472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f6576a0-fde0-4b3f-b85d-ed052301378b_ItemNo"/>
  <p:tag name="EE4P_AGENDAWIZARD_CONTENT" val="/4.2"/>
  <p:tag name="EE4P_AGENDAWIZARD_PROPERTIES" val="77.00465/317.7736/31.50472/31.50472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PageNo"/>
  <p:tag name="EE4P_AGENDAWIZARD_PROPERTIES" val="904.8554/281.2689/8.45685/31.50472"/>
  <p:tag name="EE4P_AGENDAWIZARD_CONTENT" val="/79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Topic"/>
  <p:tag name="EE4P_AGENDAWIZARD_CONTENT" val="/Introduction"/>
  <p:tag name="EE4P_AGENDAWIZARD_PROPERTIES" val="113.5094/281.2689/347.1069/31.50472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de8a299-dfc1-4c4b-a9df-3cc9d095c4f0_ItemNo"/>
  <p:tag name="EE4P_AGENDAWIZARD_CONTENT" val="/4.1"/>
  <p:tag name="EE4P_AGENDAWIZARD_PROPERTIES" val="77.00465/281.2689/31.50472/31.50472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244.7642/8.45685/31.50472"/>
  <p:tag name="EE4P_AGENDAWIZARD_CONTENT" val="/77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244.7642/383.6117/31.50472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244.7642/31.50472/31.50472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a92ebc4-2bbc-4dea-930d-e195e2b5cc79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PageNo"/>
  <p:tag name="EE4P_AGENDAWIZARD_PROPERTIES" val="904.8554/427.2879/8.45685/31.50472"/>
  <p:tag name="EE4P_AGENDAWIZARD_CONTENT" val="/93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Topic"/>
  <p:tag name="EE4P_AGENDAWIZARD_CONTENT" val="/Methods"/>
  <p:tag name="EE4P_AGENDAWIZARD_PROPERTIES" val="113.5094/427.2879/347.1069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33.3821/31.5048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Element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ItemNo"/>
  <p:tag name="EE4P_AGENDAWIZARD_CONTENT" val="/5.4"/>
  <p:tag name="EE4P_AGENDAWIZARD_PROPERTIES" val="77.00465/427.2879/31.50472/31.50472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PageNo"/>
  <p:tag name="EE4P_AGENDAWIZARD_PROPERTIES" val="904.8554/390.7831/8.45685/31.50472"/>
  <p:tag name="EE4P_AGENDAWIZARD_CONTENT" val="/91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Topic"/>
  <p:tag name="EE4P_AGENDAWIZARD_CONTENT" val="/DataSets"/>
  <p:tag name="EE4P_AGENDAWIZARD_PROPERTIES" val="113.5094/390.7831/347.1069/31.50472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ItemNo"/>
  <p:tag name="EE4P_AGENDAWIZARD_CONTENT" val="/5.3"/>
  <p:tag name="EE4P_AGENDAWIZARD_PROPERTIES" val="77.00465/390.7831/31.50472/31.50472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PageNo"/>
  <p:tag name="EE4P_AGENDAWIZARD_PROPERTIES" val="904.8554/354.2784/8.45685/31.5048"/>
  <p:tag name="EE4P_AGENDAWIZARD_CONTENT" val="/89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Topic"/>
  <p:tag name="EE4P_AGENDAWIZARD_CONTENT" val="/Sensor Design"/>
  <p:tag name="EE4P_AGENDAWIZARD_PROPERTIES" val="113.5094/354.2784/347.1069/31.5048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ItemNo"/>
  <p:tag name="EE4P_AGENDAWIZARD_CONTENT" val="/5.2"/>
  <p:tag name="EE4P_AGENDAWIZARD_PROPERTIES" val="77.00465/354.2784/31.50472/31.5048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PageNo"/>
  <p:tag name="EE4P_AGENDAWIZARD_PROPERTIES" val="904.8554/317.7736/8.45685/31.50472"/>
  <p:tag name="EE4P_AGENDAWIZARD_CONTENT" val="/87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Topic"/>
  <p:tag name="EE4P_AGENDAWIZARD_CONTENT" val="/Introduction"/>
  <p:tag name="EE4P_AGENDAWIZARD_PROPERTIES" val="113.5094/317.7736/347.1069/31.50472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ItemNo"/>
  <p:tag name="EE4P_AGENDAWIZARD_CONTENT" val="/5.1"/>
  <p:tag name="EE4P_AGENDAWIZARD_PROPERTIES" val="77.00465/317.7736/31.50472/31.5047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9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Element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281.2689/8.45685/31.50472"/>
  <p:tag name="EE4P_AGENDAWIZARD_CONTENT" val="/85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281.2689/383.6117/31.50472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281.2689/31.50472/31.50472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244.7642/8.45685/31.50472"/>
  <p:tag name="EE4P_AGENDAWIZARD_CONTENT" val="/77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244.7642/383.6117/31.50472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244.7642/31.50472/31.50472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33.3821/31.50472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f4a1d4f-8857-40fa-b6f6-67da2f5fae90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PageNo"/>
  <p:tag name="EE4P_AGENDAWIZARD_PROPERTIES" val="904.8554/427.2879/8.45685/31.50472"/>
  <p:tag name="EE4P_AGENDAWIZARD_CONTENT" val="/93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Topic"/>
  <p:tag name="EE4P_AGENDAWIZARD_CONTENT" val="/Methods"/>
  <p:tag name="EE4P_AGENDAWIZARD_PROPERTIES" val="113.5094/427.2879/347.1069/31.5047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ItemNo"/>
  <p:tag name="EE4P_AGENDAWIZARD_CONTENT" val="/5.4"/>
  <p:tag name="EE4P_AGENDAWIZARD_PROPERTIES" val="77.00465/427.2879/31.50472/31.50472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PageNo"/>
  <p:tag name="EE4P_AGENDAWIZARD_PROPERTIES" val="904.8554/390.7831/8.45685/31.50472"/>
  <p:tag name="EE4P_AGENDAWIZARD_CONTENT" val="/91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Topic"/>
  <p:tag name="EE4P_AGENDAWIZARD_CONTENT" val="/DataSets"/>
  <p:tag name="EE4P_AGENDAWIZARD_PROPERTIES" val="113.5094/390.7831/347.1069/31.50472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ItemNo"/>
  <p:tag name="EE4P_AGENDAWIZARD_CONTENT" val="/5.3"/>
  <p:tag name="EE4P_AGENDAWIZARD_PROPERTIES" val="77.00465/390.7831/31.50472/31.50472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PageNo"/>
  <p:tag name="EE4P_AGENDAWIZARD_PROPERTIES" val="904.8554/354.2784/8.45685/31.5048"/>
  <p:tag name="EE4P_AGENDAWIZARD_CONTENT" val="/89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Topic"/>
  <p:tag name="EE4P_AGENDAWIZARD_CONTENT" val="/Sensor Design"/>
  <p:tag name="EE4P_AGENDAWIZARD_PROPERTIES" val="113.5094/354.2784/347.1069/31.5048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ItemNo"/>
  <p:tag name="EE4P_AGENDAWIZARD_CONTENT" val="/5.2"/>
  <p:tag name="EE4P_AGENDAWIZARD_PROPERTIES" val="77.00465/354.2784/31.50472/31.5048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Element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PageNo"/>
  <p:tag name="EE4P_AGENDAWIZARD_PROPERTIES" val="904.8554/317.7736/8.45685/31.50472"/>
  <p:tag name="EE4P_AGENDAWIZARD_CONTENT" val="/87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Topic"/>
  <p:tag name="EE4P_AGENDAWIZARD_CONTENT" val="/Introduction"/>
  <p:tag name="EE4P_AGENDAWIZARD_PROPERTIES" val="113.5094/317.7736/347.1069/31.5047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5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ItemNo"/>
  <p:tag name="EE4P_AGENDAWIZARD_CONTENT" val="/5.1"/>
  <p:tag name="EE4P_AGENDAWIZARD_PROPERTIES" val="77.00465/317.7736/31.50472/31.50472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281.2689/8.45685/31.50472"/>
  <p:tag name="EE4P_AGENDAWIZARD_CONTENT" val="/85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281.2689/383.6117/31.50472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281.2689/31.50472/31.50472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244.7642/8.45685/31.50472"/>
  <p:tag name="EE4P_AGENDAWIZARD_CONTENT" val="/77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244.7642/383.6117/31.50472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244.7642/31.50472/31.50472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33.3821/31.50472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22606a0-0a5b-403b-bbad-9fbd82bcbbe7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PageNo"/>
  <p:tag name="EE4P_AGENDAWIZARD_PROPERTIES" val="904.8554/427.2879/8.45685/31.50472"/>
  <p:tag name="EE4P_AGENDAWIZARD_CONTENT" val="/93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Topic"/>
  <p:tag name="EE4P_AGENDAWIZARD_CONTENT" val="/Methods"/>
  <p:tag name="EE4P_AGENDAWIZARD_PROPERTIES" val="113.5094/427.2879/347.1069/31.5047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ItemNo"/>
  <p:tag name="EE4P_AGENDAWIZARD_CONTENT" val="/5.4"/>
  <p:tag name="EE4P_AGENDAWIZARD_PROPERTIES" val="77.00465/427.2879/31.50472/31.50472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PageNo"/>
  <p:tag name="EE4P_AGENDAWIZARD_PROPERTIES" val="904.8554/390.7831/8.45685/31.50472"/>
  <p:tag name="EE4P_AGENDAWIZARD_CONTENT" val="/91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Topic"/>
  <p:tag name="EE4P_AGENDAWIZARD_CONTENT" val="/DataSets"/>
  <p:tag name="EE4P_AGENDAWIZARD_PROPERTIES" val="113.5094/390.7831/347.1069/31.50472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ItemNo"/>
  <p:tag name="EE4P_AGENDAWIZARD_CONTENT" val="/5.3"/>
  <p:tag name="EE4P_AGENDAWIZARD_PROPERTIES" val="77.00465/390.7831/31.50472/31.50472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Element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PageNo"/>
  <p:tag name="EE4P_AGENDAWIZARD_PROPERTIES" val="904.8554/354.2784/8.45685/31.5048"/>
  <p:tag name="EE4P_AGENDAWIZARD_CONTENT" val="/89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Topic"/>
  <p:tag name="EE4P_AGENDAWIZARD_CONTENT" val="/Sensor Design"/>
  <p:tag name="EE4P_AGENDAWIZARD_PROPERTIES" val="113.5094/354.2784/347.1069/31.5048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ItemNo"/>
  <p:tag name="EE4P_AGENDAWIZARD_CONTENT" val="/5.2"/>
  <p:tag name="EE4P_AGENDAWIZARD_PROPERTIES" val="77.00465/354.2784/31.50472/31.5048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PageNo"/>
  <p:tag name="EE4P_AGENDAWIZARD_PROPERTIES" val="904.8554/317.7736/8.45685/31.50472"/>
  <p:tag name="EE4P_AGENDAWIZARD_CONTENT" val="/87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Topic"/>
  <p:tag name="EE4P_AGENDAWIZARD_CONTENT" val="/Introduction"/>
  <p:tag name="EE4P_AGENDAWIZARD_PROPERTIES" val="113.5094/317.7736/347.1069/31.5047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ItemNo"/>
  <p:tag name="EE4P_AGENDAWIZARD_CONTENT" val="/5.1"/>
  <p:tag name="EE4P_AGENDAWIZARD_PROPERTIES" val="77.00465/317.7736/31.50472/31.50472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281.2689/8.45685/31.50472"/>
  <p:tag name="EE4P_AGENDAWIZARD_CONTENT" val="/85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281.2689/383.6117/31.50472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281.2689/31.50472/31.50472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244.7642/8.45685/31.50472"/>
  <p:tag name="EE4P_AGENDAWIZARD_CONTENT" val="/77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244.7642/383.6117/31.50472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244.7642/31.50472/31.50472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840bdbb-5121-4cdc-8eb5-8a12d6db33e7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PageNo"/>
  <p:tag name="EE4P_AGENDAWIZARD_PROPERTIES" val="904.8554/427.2879/8.45685/31.50472"/>
  <p:tag name="EE4P_AGENDAWIZARD_CONTENT" val="/93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Topic"/>
  <p:tag name="EE4P_AGENDAWIZARD_CONTENT" val="/Methods"/>
  <p:tag name="EE4P_AGENDAWIZARD_PROPERTIES" val="113.5094/427.2879/347.1069/31.5047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ItemNo"/>
  <p:tag name="EE4P_AGENDAWIZARD_CONTENT" val="/5.4"/>
  <p:tag name="EE4P_AGENDAWIZARD_PROPERTIES" val="77.00465/427.2879/31.50472/31.50472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Element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PageNo"/>
  <p:tag name="EE4P_AGENDAWIZARD_PROPERTIES" val="904.8554/390.7831/8.45685/31.50472"/>
  <p:tag name="EE4P_AGENDAWIZARD_CONTENT" val="/91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Topic"/>
  <p:tag name="EE4P_AGENDAWIZARD_CONTENT" val="/DataSets"/>
  <p:tag name="EE4P_AGENDAWIZARD_PROPERTIES" val="113.5094/390.7831/347.1069/31.50472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ItemNo"/>
  <p:tag name="EE4P_AGENDAWIZARD_CONTENT" val="/5.3"/>
  <p:tag name="EE4P_AGENDAWIZARD_PROPERTIES" val="77.00465/390.7831/31.50472/31.50472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PageNo"/>
  <p:tag name="EE4P_AGENDAWIZARD_PROPERTIES" val="904.8554/354.2784/8.45685/31.5048"/>
  <p:tag name="EE4P_AGENDAWIZARD_CONTENT" val="/89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Topic"/>
  <p:tag name="EE4P_AGENDAWIZARD_CONTENT" val="/Sensor Design"/>
  <p:tag name="EE4P_AGENDAWIZARD_PROPERTIES" val="113.5094/354.2784/347.1069/31.5048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ItemNo"/>
  <p:tag name="EE4P_AGENDAWIZARD_CONTENT" val="/5.2"/>
  <p:tag name="EE4P_AGENDAWIZARD_PROPERTIES" val="77.00465/354.2784/31.50472/31.5048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PageNo"/>
  <p:tag name="EE4P_AGENDAWIZARD_PROPERTIES" val="904.8554/317.7736/8.45685/31.50472"/>
  <p:tag name="EE4P_AGENDAWIZARD_CONTENT" val="/87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Topic"/>
  <p:tag name="EE4P_AGENDAWIZARD_CONTENT" val="/Introduction"/>
  <p:tag name="EE4P_AGENDAWIZARD_PROPERTIES" val="113.5094/317.7736/347.1069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153a492-dcd4-45be-b8ba-2d318043d54b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ItemNo"/>
  <p:tag name="EE4P_AGENDAWIZARD_CONTENT" val="/5.1"/>
  <p:tag name="EE4P_AGENDAWIZARD_PROPERTIES" val="77.00465/317.7736/31.50472/31.50472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281.2689/8.45685/31.50472"/>
  <p:tag name="EE4P_AGENDAWIZARD_CONTENT" val="/85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281.2689/383.6117/31.50472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281.2689/31.50472/31.50472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244.7642/8.45685/31.50472"/>
  <p:tag name="EE4P_AGENDAWIZARD_CONTENT" val="/77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244.7642/383.6117/31.50472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244.7642/31.50472/31.50472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PageNo"/>
  <p:tag name="EE4P_AGENDAWIZARD_PROPERTIES" val="904.8554/354.2784/8.45685/31.5048"/>
  <p:tag name="EE4P_AGENDAWIZARD_CONTENT" val="/23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a5fcb9b-24de-454d-b8e8-8ac473616ad8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Element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PageNo"/>
  <p:tag name="EE4P_AGENDAWIZARD_PROPERTIES" val="904.8554/427.2879/8.45685/31.50472"/>
  <p:tag name="EE4P_AGENDAWIZARD_CONTENT" val="/9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Topic"/>
  <p:tag name="EE4P_AGENDAWIZARD_CONTENT" val="/Biomimetic Robots"/>
  <p:tag name="EE4P_AGENDAWIZARD_PROPERTIES" val="77.00465/354.2784/145.5325/31.5048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Topic"/>
  <p:tag name="EE4P_AGENDAWIZARD_CONTENT" val="/Methods"/>
  <p:tag name="EE4P_AGENDAWIZARD_PROPERTIES" val="113.5094/427.2879/347.1069/31.50472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a5fcb9b-24de-454d-b8e8-8ac473616ad8_ItemNo"/>
  <p:tag name="EE4P_AGENDAWIZARD_CONTENT" val="/5.4"/>
  <p:tag name="EE4P_AGENDAWIZARD_PROPERTIES" val="77.00465/427.2879/31.50472/31.50472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PageNo"/>
  <p:tag name="EE4P_AGENDAWIZARD_PROPERTIES" val="904.8554/390.7831/8.45685/31.50472"/>
  <p:tag name="EE4P_AGENDAWIZARD_CONTENT" val="/91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Topic"/>
  <p:tag name="EE4P_AGENDAWIZARD_CONTENT" val="/DataSets"/>
  <p:tag name="EE4P_AGENDAWIZARD_PROPERTIES" val="113.5094/390.7831/347.1069/31.50472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40bdbb-5121-4cdc-8eb5-8a12d6db33e7_ItemNo"/>
  <p:tag name="EE4P_AGENDAWIZARD_CONTENT" val="/5.3"/>
  <p:tag name="EE4P_AGENDAWIZARD_PROPERTIES" val="77.00465/390.7831/31.50472/31.50472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PageNo"/>
  <p:tag name="EE4P_AGENDAWIZARD_PROPERTIES" val="904.8554/354.2784/8.45685/31.5048"/>
  <p:tag name="EE4P_AGENDAWIZARD_CONTENT" val="/89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Topic"/>
  <p:tag name="EE4P_AGENDAWIZARD_CONTENT" val="/Sensor Design"/>
  <p:tag name="EE4P_AGENDAWIZARD_PROPERTIES" val="113.5094/354.2784/347.1069/31.5048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22606a0-0a5b-403b-bbad-9fbd82bcbbe7_ItemNo"/>
  <p:tag name="EE4P_AGENDAWIZARD_CONTENT" val="/5.2"/>
  <p:tag name="EE4P_AGENDAWIZARD_PROPERTIES" val="77.00465/354.2784/31.50472/31.5048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PageNo"/>
  <p:tag name="EE4P_AGENDAWIZARD_PROPERTIES" val="904.8554/317.7736/8.45685/31.50472"/>
  <p:tag name="EE4P_AGENDAWIZARD_CONTENT" val="/87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Topic"/>
  <p:tag name="EE4P_AGENDAWIZARD_CONTENT" val="/Introduction"/>
  <p:tag name="EE4P_AGENDAWIZARD_PROPERTIES" val="113.5094/317.7736/347.1069/31.5047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8b732f8-3ef4-4489-9966-ee5365a512dc_ItemNo"/>
  <p:tag name="EE4P_AGENDAWIZARD_CONTENT" val="/7"/>
  <p:tag name="EE4P_AGENDAWIZARD_PROPERTIES" val="40.49992/354.2784/31.50472/31.5048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4a1d4f-8857-40fa-b6f6-67da2f5fae90_ItemNo"/>
  <p:tag name="EE4P_AGENDAWIZARD_CONTENT" val="/5.1"/>
  <p:tag name="EE4P_AGENDAWIZARD_PROPERTIES" val="77.00465/317.7736/31.50472/31.50472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PageNo"/>
  <p:tag name="EE4P_AGENDAWIZARD_PROPERTIES" val="904.8554/281.2689/8.45685/31.50472"/>
  <p:tag name="EE4P_AGENDAWIZARD_CONTENT" val="/85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Topic"/>
  <p:tag name="EE4P_AGENDAWIZARD_CONTENT" val="/Non-Visual Perception: Tactile"/>
  <p:tag name="EE4P_AGENDAWIZARD_PROPERTIES" val="77.00465/281.2689/383.6117/31.50472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92ebc4-2bbc-4dea-930d-e195e2b5cc79_ItemNo"/>
  <p:tag name="EE4P_AGENDAWIZARD_CONTENT" val="/5"/>
  <p:tag name="EE4P_AGENDAWIZARD_PROPERTIES" val="40.49992/281.2689/31.50472/31.50472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PageNo"/>
  <p:tag name="EE4P_AGENDAWIZARD_PROPERTIES" val="904.8554/244.7642/8.45685/31.50472"/>
  <p:tag name="EE4P_AGENDAWIZARD_CONTENT" val="/77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Topic"/>
  <p:tag name="EE4P_AGENDAWIZARD_CONTENT" val="/Visual Language Navigation"/>
  <p:tag name="EE4P_AGENDAWIZARD_PROPERTIES" val="77.00465/244.7642/383.6117/31.50472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a5854f-9f61-4cc7-9857-2c3066370348_ItemNo"/>
  <p:tag name="EE4P_AGENDAWIZARD_CONTENT" val="/4"/>
  <p:tag name="EE4P_AGENDAWIZARD_PROPERTIES" val="40.49992/244.7642/31.50472/31.50472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PageNo"/>
  <p:tag name="EE4P_AGENDAWIZARD_PROPERTIES" val="904.8554/208.2594/8.45685/31.50472"/>
  <p:tag name="EE4P_AGENDAWIZARD_CONTENT" val="/69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Topic"/>
  <p:tag name="EE4P_AGENDAWIZARD_CONTENT" val="/3D Visual Grounding"/>
  <p:tag name="EE4P_AGENDAWIZARD_PROPERTIES" val="77.00465/208.2594/383.6117/31.50472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1fe5d2-7cea-4b0f-9834-a51034efc919_ItemNo"/>
  <p:tag name="EE4P_AGENDAWIZARD_CONTENT" val="/3"/>
  <p:tag name="EE4P_AGENDAWIZARD_PROPERTIES" val="40.49992/208.2594/31.50472/31.5047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PageNo"/>
  <p:tag name="EE4P_AGENDAWIZARD_PROPERTIES" val="904.8554/317.7736/8.45685/31.50472"/>
  <p:tag name="EE4P_AGENDAWIZARD_CONTENT" val="/21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PageNo"/>
  <p:tag name="EE4P_AGENDAWIZARD_PROPERTIES" val="904.8554/171.7547/8.45685/31.50472"/>
  <p:tag name="EE4P_AGENDAWIZARD_CONTENT" val="/59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Topic"/>
  <p:tag name="EE4P_AGENDAWIZARD_CONTENT" val="/Active Visual Perception"/>
  <p:tag name="EE4P_AGENDAWIZARD_PROPERTIES" val="77.00465/171.7547/383.6117/31.50472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523f80-95ea-41a4-b503-8824842d720b_ItemNo"/>
  <p:tag name="EE4P_AGENDAWIZARD_CONTENT" val="/2"/>
  <p:tag name="EE4P_AGENDAWIZARD_PROPERTIES" val="40.49992/171.7547/31.50472/31.50472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PageNo"/>
  <p:tag name="EE4P_AGENDAWIZARD_PROPERTIES" val="904.8554/135.25/8.45685/31.50472"/>
  <p:tag name="EE4P_AGENDAWIZARD_CONTENT" val="/57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Topic"/>
  <p:tag name="EE4P_AGENDAWIZARD_CONTENT" val="/Introduction"/>
  <p:tag name="EE4P_AGENDAWIZARD_PROPERTIES" val="77.00465/135.25/383.6117/31.50472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b23422-855f-4f98-be1e-de522a382985_ItemNo"/>
  <p:tag name="EE4P_AGENDAWIZARD_CONTENT" val="/1"/>
  <p:tag name="EE4P_AGENDAWIZARD_PROPERTIES" val="40.49992/135.25/31.50472/31.50472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bbeccca-bead-4fab-949a-86055cf9ea7e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PageNo"/>
  <p:tag name="EE4P_AGENDAWIZARD_PROPERTIES" val="904.8554/390.7831/8.45685/31.50472"/>
  <p:tag name="EE4P_AGENDAWIZARD_CONTENT" val="/185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Topic"/>
  <p:tag name="EE4P_AGENDAWIZARD_CONTENT" val="/Challenges &amp; Future Directions"/>
  <p:tag name="EE4P_AGENDAWIZARD_PROPERTIES" val="77.00465/390.7831/233.3821/31.5047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Topic"/>
  <p:tag name="EE4P_AGENDAWIZARD_CONTENT" val="/Humanoid Robots"/>
  <p:tag name="EE4P_AGENDAWIZARD_PROPERTIES" val="77.00465/317.7736/145.5325/31.50472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5da62d-55ff-4b76-a140-1234dd11014c_ItemNo"/>
  <p:tag name="EE4P_AGENDAWIZARD_CONTENT" val="/8"/>
  <p:tag name="EE4P_AGENDAWIZARD_PROPERTIES" val="40.49992/390.7831/31.50472/31.50472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PageNo"/>
  <p:tag name="EE4P_AGENDAWIZARD_PROPERTIES" val="904.8554/354.2784/8.45685/31.5048"/>
  <p:tag name="EE4P_AGENDAWIZARD_CONTENT" val="/149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Topic"/>
  <p:tag name="EE4P_AGENDAWIZARD_CONTENT" val="/Task4 Sim2Real Adaptation"/>
  <p:tag name="EE4P_AGENDAWIZARD_PROPERTIES" val="77.00465/354.2784/233.3821/31.5048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c58e9c7-5a89-438d-b39d-d315e205025c_ItemNo"/>
  <p:tag name="EE4P_AGENDAWIZARD_CONTENT" val="/7"/>
  <p:tag name="EE4P_AGENDAWIZARD_PROPERTIES" val="40.49992/354.2784/31.50472/31.5048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PageNo"/>
  <p:tag name="EE4P_AGENDAWIZARD_PROPERTIES" val="904.8554/317.7736/8.45685/31.50472"/>
  <p:tag name="EE4P_AGENDAWIZARD_CONTENT" val="/125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Topic"/>
  <p:tag name="EE4P_AGENDAWIZARD_CONTENT" val="/Task3 Embodied Agent"/>
  <p:tag name="EE4P_AGENDAWIZARD_PROPERTIES" val="77.00465/317.7736/233.3821/31.50472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fbc024c-c859-49ab-aab7-ef408c11f3ea_ItemNo"/>
  <p:tag name="EE4P_AGENDAWIZARD_CONTENT" val="/6"/>
  <p:tag name="EE4P_AGENDAWIZARD_PROPERTIES" val="40.49992/317.7736/31.50472/31.50472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Element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PageNo"/>
  <p:tag name="EE4P_AGENDAWIZARD_PROPERTIES" val="904.8554/281.2689/8.45685/31.50472"/>
  <p:tag name="EE4P_AGENDAWIZARD_CONTENT" val="/95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Topic"/>
  <p:tag name="EE4P_AGENDAWIZARD_CONTENT" val="/Task2 Embodied Interaction"/>
  <p:tag name="EE4P_AGENDAWIZARD_PROPERTIES" val="77.00465/281.2689/233.3821/31.5047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19d3b96-f418-4dff-bb6e-3607952884af_ItemNo"/>
  <p:tag name="EE4P_AGENDAWIZARD_CONTENT" val="/6"/>
  <p:tag name="EE4P_AGENDAWIZARD_PROPERTIES" val="40.49992/317.7736/31.50472/31.50472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eccca-bead-4fab-949a-86055cf9ea7e_ItemNo"/>
  <p:tag name="EE4P_AGENDAWIZARD_CONTENT" val="/5"/>
  <p:tag name="EE4P_AGENDAWIZARD_PROPERTIES" val="40.49992/281.2689/31.50472/31.50472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PageNo"/>
  <p:tag name="EE4P_AGENDAWIZARD_PROPERTIES" val="904.8554/244.7642/8.45685/31.50472"/>
  <p:tag name="EE4P_AGENDAWIZARD_CONTENT" val="/55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Topic"/>
  <p:tag name="EE4P_AGENDAWIZARD_CONTENT" val="/Task1 Embodied Perception"/>
  <p:tag name="EE4P_AGENDAWIZARD_PROPERTIES" val="77.00465/244.7642/233.3821/31.50472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4c0b988-9e18-455e-b196-9685cd0b85bd_ItemNo"/>
  <p:tag name="EE4P_AGENDAWIZARD_CONTENT" val="/4"/>
  <p:tag name="EE4P_AGENDAWIZARD_PROPERTIES" val="40.49992/244.7642/31.50472/31.50472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PageNo"/>
  <p:tag name="EE4P_AGENDAWIZARD_PROPERTIES" val="904.8554/208.2594/8.45685/31.50472"/>
  <p:tag name="EE4P_AGENDAWIZARD_CONTENT" val="/25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Topic"/>
  <p:tag name="EE4P_AGENDAWIZARD_CONTENT" val="/Tool2 Embodied Simulators"/>
  <p:tag name="EE4P_AGENDAWIZARD_PROPERTIES" val="77.00465/208.2594/233.3821/31.50472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7f756fa-0a0d-4faf-86b4-61abd619b9a9_ItemNo"/>
  <p:tag name="EE4P_AGENDAWIZARD_CONTENT" val="/3"/>
  <p:tag name="EE4P_AGENDAWIZARD_PROPERTIES" val="40.49992/208.2594/31.50472/31.50472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PageNo"/>
  <p:tag name="EE4P_AGENDAWIZARD_PROPERTIES" val="904.8554/171.7547/8.45685/31.50472"/>
  <p:tag name="EE4P_AGENDAWIZARD_CONTENT" val="/9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Topic"/>
  <p:tag name="EE4P_AGENDAWIZARD_CONTENT" val="/Tool1 Embodied Robots"/>
  <p:tag name="EE4P_AGENDAWIZARD_PROPERTIES" val="77.00465/171.7547/233.3821/31.50472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990acd5-2cb4-45f6-82ce-d8e583c6b0d3_ItemNo"/>
  <p:tag name="EE4P_AGENDAWIZARD_CONTENT" val="/2"/>
  <p:tag name="EE4P_AGENDAWIZARD_PROPERTIES" val="40.49992/171.7547/31.50472/31.5047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PageNo"/>
  <p:tag name="EE4P_AGENDAWIZARD_PROPERTIES" val="904.8554/281.2689/8.45685/31.50472"/>
  <p:tag name="EE4P_AGENDAWIZARD_CONTENT" val="/19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PageNo"/>
  <p:tag name="EE4P_AGENDAWIZARD_PROPERTIES" val="904.8554/135.25/8.45685/31.50472"/>
  <p:tag name="EE4P_AGENDAWIZARD_CONTENT" val="/5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Topic"/>
  <p:tag name="EE4P_AGENDAWIZARD_CONTENT" val="/Introduction"/>
  <p:tag name="EE4P_AGENDAWIZARD_PROPERTIES" val="77.00465/135.25/233.3821/31.50472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84de4-10f5-4c05-946e-d9524c7a6235_ItemNo"/>
  <p:tag name="EE4P_AGENDAWIZARD_CONTENT" val="/1"/>
  <p:tag name="EE4P_AGENDAWIZARD_PROPERTIES" val="40.49992/135.25/31.50472/31.50472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bf40df1-5f6a-4591-b9a9-b8a6b6f60026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208.2594/8.45685/31.50472"/>
  <p:tag name="EE4P_AGENDAWIZARD_CONTENT" val="/111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208.2594/269.1295/31.50472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208.2594/31.50472/31.50472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PageNo"/>
  <p:tag name="EE4P_AGENDAWIZARD_PROPERTIES" val="904.8554/171.7547/8.45685/31.50472"/>
  <p:tag name="EE4P_AGENDAWIZARD_CONTENT" val="/99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Topic"/>
  <p:tag name="EE4P_AGENDAWIZARD_CONTENT" val="/Embodied Question Answering"/>
  <p:tag name="EE4P_AGENDAWIZARD_PROPERTIES" val="77.00465/171.7547/269.1295/31.5047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Topic"/>
  <p:tag name="EE4P_AGENDAWIZARD_CONTENT" val="/Quadruped Robots"/>
  <p:tag name="EE4P_AGENDAWIZARD_PROPERTIES" val="77.00465/281.2689/145.5325/31.50472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0e94714-1a67-4c93-8738-6aa6f2b37237_ItemNo"/>
  <p:tag name="EE4P_AGENDAWIZARD_CONTENT" val="/2"/>
  <p:tag name="EE4P_AGENDAWIZARD_PROPERTIES" val="40.49992/171.7547/31.50472/31.50472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Element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PageNo"/>
  <p:tag name="EE4P_AGENDAWIZARD_PROPERTIES" val="904.8554/135.25/8.45685/31.50472"/>
  <p:tag name="EE4P_AGENDAWIZARD_CONTENT" val="/97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Topic"/>
  <p:tag name="EE4P_AGENDAWIZARD_CONTENT" val="/Introduction"/>
  <p:tag name="EE4P_AGENDAWIZARD_PROPERTIES" val="77.00465/135.25/269.1295/31.50472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bf40df1-5f6a-4591-b9a9-b8a6b6f60026_ItemNo"/>
  <p:tag name="EE4P_AGENDAWIZARD_CONTENT" val="/1"/>
  <p:tag name="EE4P_AGENDAWIZARD_PROPERTIES" val="40.49992/135.25/31.50472/31.50472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0e94714-1a67-4c93-8738-6aa6f2b37237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PageNo"/>
  <p:tag name="EE4P_AGENDAWIZARD_PROPERTIES" val="904.8554/390.7831/8.45685/31.50472"/>
  <p:tag name="EE4P_AGENDAWIZARD_CONTENT" val="/111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Topic"/>
  <p:tag name="EE4P_AGENDAWIZARD_CONTENT" val="/Embodied Grasping"/>
  <p:tag name="EE4P_AGENDAWIZARD_PROPERTIES" val="77.00465/390.7831/269.1295/31.50472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a97632e-69ec-43e2-a47a-f6f29ab47838_ItemNo"/>
  <p:tag name="EE4P_AGENDAWIZARD_CONTENT" val="/3"/>
  <p:tag name="EE4P_AGENDAWIZARD_PROPERTIES" val="40.49992/390.7831/31.50472/31.5047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95929-fa19-48d7-9998-ba4410cbdff6_ItemNo"/>
  <p:tag name="EE4P_AGENDAWIZARD_CONTENT" val="/5"/>
  <p:tag name="EE4P_AGENDAWIZARD_PROPERTIES" val="40.49992/281.2689/31.50472/31.50472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PageNo"/>
  <p:tag name="EE4P_AGENDAWIZARD_PROPERTIES" val="904.8554/354.2784/8.45685/31.5048"/>
  <p:tag name="EE4P_AGENDAWIZARD_CONTENT" val="/109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Topic"/>
  <p:tag name="EE4P_AGENDAWIZARD_CONTENT" val="/Limitations"/>
  <p:tag name="EE4P_AGENDAWIZARD_PROPERTIES" val="113.5094/354.2784/232.6248/31.5048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3c7eef6-3e74-493e-a245-773c169f4591_ItemNo"/>
  <p:tag name="EE4P_AGENDAWIZARD_CONTENT" val="/2.5"/>
  <p:tag name="EE4P_AGENDAWIZARD_PROPERTIES" val="77.00465/354.2784/31.50472/31.5048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PageNo"/>
  <p:tag name="EE4P_AGENDAWIZARD_PROPERTIES" val="904.8554/317.7736/8.45685/31.50472"/>
  <p:tag name="EE4P_AGENDAWIZARD_CONTENT" val="/107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Topic"/>
  <p:tag name="EE4P_AGENDAWIZARD_CONTENT" val="/Metrics"/>
  <p:tag name="EE4P_AGENDAWIZARD_PROPERTIES" val="113.5094/317.7736/232.6248/31.50472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bf3aa1c-5437-4654-81f6-15b42928d75c_ItemNo"/>
  <p:tag name="EE4P_AGENDAWIZARD_CONTENT" val="/2.4"/>
  <p:tag name="EE4P_AGENDAWIZARD_PROPERTIES" val="77.00465/317.7736/31.50472/31.50472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PageNo"/>
  <p:tag name="EE4P_AGENDAWIZARD_PROPERTIES" val="904.8554/281.2689/8.45685/31.50472"/>
  <p:tag name="EE4P_AGENDAWIZARD_CONTENT" val="/105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Topic"/>
  <p:tag name="EE4P_AGENDAWIZARD_CONTENT" val="/Methods"/>
  <p:tag name="EE4P_AGENDAWIZARD_PROPERTIES" val="113.5094/281.2689/232.6248/31.50472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c41b670-fd68-4e64-a967-d426eff41da0_ItemNo"/>
  <p:tag name="EE4P_AGENDAWIZARD_CONTENT" val="/2.3"/>
  <p:tag name="EE4P_AGENDAWIZARD_PROPERTIES" val="77.00465/281.2689/31.50472/31.50472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0913e-c0c3-4b15-87f1-b7f4570d27a7_PageNo"/>
  <p:tag name="EE4P_AGENDAWIZARD_PROPERTIES" val="904.8554/244.7642/8.45685/31.50472"/>
  <p:tag name="EE4P_AGENDAWIZARD_CONTENT" val="/103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2</TotalTime>
  <Words>6424</Words>
  <Application>Microsoft Office PowerPoint</Application>
  <PresentationFormat>宽屏</PresentationFormat>
  <Paragraphs>2275</Paragraphs>
  <Slides>20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0</vt:i4>
      </vt:variant>
    </vt:vector>
  </HeadingPairs>
  <TitlesOfParts>
    <vt:vector size="207" baseType="lpstr">
      <vt:lpstr>等线</vt:lpstr>
      <vt:lpstr>等线 Light</vt:lpstr>
      <vt:lpstr>Arial</vt:lpstr>
      <vt:lpstr>Montserrat</vt:lpstr>
      <vt:lpstr>Wingdings</vt:lpstr>
      <vt:lpstr>Office 主题​​</vt:lpstr>
      <vt:lpstr>think-cell 幻灯片</vt:lpstr>
      <vt:lpstr>PowerPoint 演示文稿</vt:lpstr>
      <vt:lpstr>PowerPoint 演示文稿</vt:lpstr>
      <vt:lpstr>Tools &amp; Tasks</vt:lpstr>
      <vt:lpstr>PowerPoint 演示文稿</vt:lpstr>
      <vt:lpstr>Tools &amp; Tasks</vt:lpstr>
      <vt:lpstr>Introduction</vt:lpstr>
      <vt:lpstr>Introduction</vt:lpstr>
      <vt:lpstr>Introduction</vt:lpstr>
      <vt:lpstr>Tools &amp; Tasks</vt:lpstr>
      <vt:lpstr>PowerPoint 演示文稿</vt:lpstr>
      <vt:lpstr>Types of Robots</vt:lpstr>
      <vt:lpstr>Introduction</vt:lpstr>
      <vt:lpstr>Types of Robots</vt:lpstr>
      <vt:lpstr>Fixed-base Robots</vt:lpstr>
      <vt:lpstr>Types of Robots</vt:lpstr>
      <vt:lpstr>Wheeled Robots</vt:lpstr>
      <vt:lpstr>Types of Robots</vt:lpstr>
      <vt:lpstr>Tracked Robots</vt:lpstr>
      <vt:lpstr>Types of Robots</vt:lpstr>
      <vt:lpstr>Quadruped Robots</vt:lpstr>
      <vt:lpstr>Types of Robots</vt:lpstr>
      <vt:lpstr>Humanoid Robots</vt:lpstr>
      <vt:lpstr>Types of Robots</vt:lpstr>
      <vt:lpstr>Biomimetic Robots</vt:lpstr>
      <vt:lpstr>Tools &amp; Tasks</vt:lpstr>
      <vt:lpstr>PowerPoint 演示文稿</vt:lpstr>
      <vt:lpstr>Types of Simulators</vt:lpstr>
      <vt:lpstr>Introduction</vt:lpstr>
      <vt:lpstr>Types of Simulators</vt:lpstr>
      <vt:lpstr>General Simulator</vt:lpstr>
      <vt:lpstr>General Simulator——Isaac Sim</vt:lpstr>
      <vt:lpstr>General Simulator——Isaac Gym</vt:lpstr>
      <vt:lpstr>General Simulator——Gazebo</vt:lpstr>
      <vt:lpstr>General Simulator——PyBullet</vt:lpstr>
      <vt:lpstr>General Simulator——Webots</vt:lpstr>
      <vt:lpstr>General Simulator——MuJoCo</vt:lpstr>
      <vt:lpstr>General Simulator——Unity ML-Agents</vt:lpstr>
      <vt:lpstr>General Simulator——AirSim</vt:lpstr>
      <vt:lpstr>General Simulator——MORSE</vt:lpstr>
      <vt:lpstr>General Simulator——V-REP(CoppeliaSim)</vt:lpstr>
      <vt:lpstr>Types of Simulators</vt:lpstr>
      <vt:lpstr>Real-Scene Based Simulators</vt:lpstr>
      <vt:lpstr>Real-Scene Based Simulators——AI2-THOR</vt:lpstr>
      <vt:lpstr>Real-Scene Based Simulators——Matterport 3D</vt:lpstr>
      <vt:lpstr>Real-Scene Based Simulators——Habitat</vt:lpstr>
      <vt:lpstr>Real-Scene Based Simulators——Virtual Home</vt:lpstr>
      <vt:lpstr>Real-Scene Based Simulators——SAPIEN</vt:lpstr>
      <vt:lpstr>Real-Scene Based Simulators——iGibson</vt:lpstr>
      <vt:lpstr>Real-Scene Based Simulators——TDW</vt:lpstr>
      <vt:lpstr>Types of Simulators</vt:lpstr>
      <vt:lpstr>Automated Simulation Scene Construction——RoboGen</vt:lpstr>
      <vt:lpstr>Automated Simulation Scene Construction——HOLODECK</vt:lpstr>
      <vt:lpstr>Automated Simulation Scene Construction——PhyScene</vt:lpstr>
      <vt:lpstr>Automated Simulation Scene Construction——ProcTHOR</vt:lpstr>
      <vt:lpstr>Tools &amp; Tasks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Ways of Perception</vt:lpstr>
      <vt:lpstr>PowerPoint 演示文稿</vt:lpstr>
      <vt:lpstr>Tools &amp; Tasks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Forms of Interactive</vt:lpstr>
      <vt:lpstr>PowerPoint 演示文稿</vt:lpstr>
      <vt:lpstr>Tools &amp; Tasks</vt:lpstr>
      <vt:lpstr>PowerPoint 演示文稿</vt:lpstr>
      <vt:lpstr>Executions of Agent</vt:lpstr>
      <vt:lpstr>PowerPoint 演示文稿</vt:lpstr>
      <vt:lpstr>Executions of Agent</vt:lpstr>
      <vt:lpstr>PowerPoint 演示文稿</vt:lpstr>
      <vt:lpstr>Executions of Agent</vt:lpstr>
      <vt:lpstr>PowerPoint 演示文稿</vt:lpstr>
      <vt:lpstr>Executions of Agent</vt:lpstr>
      <vt:lpstr>PowerPoint 演示文稿</vt:lpstr>
      <vt:lpstr>Executions of Agent</vt:lpstr>
      <vt:lpstr>PowerPoint 演示文稿</vt:lpstr>
      <vt:lpstr>Executions of Agent</vt:lpstr>
      <vt:lpstr>PowerPoint 演示文稿</vt:lpstr>
      <vt:lpstr>Executions of Agent</vt:lpstr>
      <vt:lpstr>PowerPoint 演示文稿</vt:lpstr>
      <vt:lpstr>Executions of Agent</vt:lpstr>
      <vt:lpstr>PowerPoint 演示文稿</vt:lpstr>
      <vt:lpstr>Executions of Agent</vt:lpstr>
      <vt:lpstr>PowerPoint 演示文稿</vt:lpstr>
      <vt:lpstr>Executions of Agent</vt:lpstr>
      <vt:lpstr>PowerPoint 演示文稿</vt:lpstr>
      <vt:lpstr>Executions of Agent</vt:lpstr>
      <vt:lpstr>PowerPoint 演示文稿</vt:lpstr>
      <vt:lpstr>Tools &amp; Tasks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Steps of Adaptation</vt:lpstr>
      <vt:lpstr>PowerPoint 演示文稿</vt:lpstr>
      <vt:lpstr>Tools &amp; Tasks</vt:lpstr>
      <vt:lpstr>PowerPoint 演示文稿</vt:lpstr>
      <vt:lpstr>Difficulty of Implementing Embodied Intelligence</vt:lpstr>
      <vt:lpstr>PowerPoint 演示文稿</vt:lpstr>
      <vt:lpstr>Difficulty of Implementing Embodied Intelligence</vt:lpstr>
      <vt:lpstr>PowerPoint 演示文稿</vt:lpstr>
      <vt:lpstr>Difficulty of Implementing Embodied Intelligence</vt:lpstr>
      <vt:lpstr>PowerPoint 演示文稿</vt:lpstr>
      <vt:lpstr>Difficulty of Implementing Embodied Intelligence</vt:lpstr>
      <vt:lpstr>PowerPoint 演示文稿</vt:lpstr>
      <vt:lpstr>Difficulty of Implementing Embodied Intelligence</vt:lpstr>
      <vt:lpstr>PowerPoint 演示文稿</vt:lpstr>
      <vt:lpstr>Difficulty of Implementing Embodied Intelligence</vt:lpstr>
      <vt:lpstr>PowerPoint 演示文稿</vt:lpstr>
      <vt:lpstr>Difficulty of Implementing Embodied Intelligence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zhong zhang</dc:creator>
  <cp:lastModifiedBy>lizhong zhang</cp:lastModifiedBy>
  <cp:revision>103</cp:revision>
  <cp:lastPrinted>1999-12-31T16:00:00Z</cp:lastPrinted>
  <dcterms:created xsi:type="dcterms:W3CDTF">2024-08-29T02:15:38Z</dcterms:created>
  <dcterms:modified xsi:type="dcterms:W3CDTF">2024-09-09T12:53:54Z</dcterms:modified>
</cp:coreProperties>
</file>